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4" r:id="rId5"/>
  </p:sldMasterIdLst>
  <p:notesMasterIdLst>
    <p:notesMasterId r:id="rId17"/>
  </p:notesMasterIdLst>
  <p:handoutMasterIdLst>
    <p:handoutMasterId r:id="rId18"/>
  </p:handoutMasterIdLst>
  <p:sldIdLst>
    <p:sldId id="2147378695" r:id="rId6"/>
    <p:sldId id="2141412029" r:id="rId7"/>
    <p:sldId id="288" r:id="rId8"/>
    <p:sldId id="2141412032" r:id="rId9"/>
    <p:sldId id="2141412034" r:id="rId10"/>
    <p:sldId id="1881838563" r:id="rId11"/>
    <p:sldId id="504" r:id="rId12"/>
    <p:sldId id="2141412023" r:id="rId13"/>
    <p:sldId id="313" r:id="rId14"/>
    <p:sldId id="2141410935" r:id="rId15"/>
    <p:sldId id="289" r:id="rId16"/>
  </p:sldIdLst>
  <p:sldSz cx="9144000" cy="5143500" type="screen16x9"/>
  <p:notesSz cx="6805613" cy="99441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43">
          <p15:clr>
            <a:srgbClr val="A4A3A4"/>
          </p15:clr>
        </p15:guide>
        <p15:guide id="2" pos="46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DE60D1-6EEC-6B6A-A925-020E287895C5}" name="Laura DOS SANTOS" initials="LS" userId="S::lal45742@ipsen.com::5d03c3ee-021b-4603-97b7-542e67bb867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B200"/>
    <a:srgbClr val="9B9692"/>
    <a:srgbClr val="FFCCCC"/>
    <a:srgbClr val="66FF99"/>
    <a:srgbClr val="FF3399"/>
    <a:srgbClr val="FF00FF"/>
    <a:srgbClr val="FFCCFF"/>
    <a:srgbClr val="3399FF"/>
    <a:srgbClr val="25976F"/>
    <a:srgbClr val="A1A1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880" y="40"/>
      </p:cViewPr>
      <p:guideLst>
        <p:guide orient="horz" pos="3143"/>
        <p:guide pos="4616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8" d="100"/>
          <a:sy n="98" d="100"/>
        </p:scale>
        <p:origin x="3612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90CE0BD5-E854-3B43-A325-2BB7733A21B9}" type="datetime1">
              <a:rPr lang="fr-FR" smtClean="0"/>
              <a:t>10/04/202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6205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975B4885-A8A2-C54C-855A-5F3487E0C3ED}" type="datetime1">
              <a:rPr lang="fr-FR" smtClean="0"/>
              <a:t>10/04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6125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0562" y="4723449"/>
            <a:ext cx="5444490" cy="447484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EE0B1B76-0581-2646-A8E0-32041859969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5534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fr-FR">
                <a:solidFill>
                  <a:schemeClr val="tx2"/>
                </a:solidFill>
                <a:latin typeface="+mj-lt"/>
              </a:rPr>
              <a:t>Les feuillets des argiles chargés négativement nécessitent des ions compensateurs</a:t>
            </a:r>
          </a:p>
          <a:p>
            <a:pPr algn="just"/>
            <a:endParaRPr lang="fr-FR">
              <a:solidFill>
                <a:schemeClr val="tx2"/>
              </a:solidFill>
              <a:latin typeface="+mj-lt"/>
            </a:endParaRP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>
                <a:solidFill>
                  <a:schemeClr val="tx2"/>
                </a:solidFill>
                <a:latin typeface="+mj-lt"/>
              </a:rPr>
              <a:t>Ces ions peuvent facilement venir se loger dans les cavités hexagonales superficielles des feuillets. Leur liaison avec les feuillets est plus ou moins forte selon la nature de l’argile</a:t>
            </a: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>
                <a:solidFill>
                  <a:schemeClr val="tx2"/>
                </a:solidFill>
                <a:latin typeface="+mj-lt"/>
              </a:rPr>
              <a:t> </a:t>
            </a: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en-US">
                <a:solidFill>
                  <a:schemeClr val="tx2"/>
                </a:solidFill>
                <a:latin typeface="+mj-lt"/>
              </a:rPr>
              <a:t>Une structure T-O-T :</a:t>
            </a: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altLang="en-US">
              <a:solidFill>
                <a:schemeClr val="tx2"/>
              </a:solidFill>
              <a:latin typeface="+mj-lt"/>
            </a:endParaRPr>
          </a:p>
          <a:p>
            <a:pPr marL="742875" lvl="1" indent="-28572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fr-FR">
                <a:solidFill>
                  <a:schemeClr val="tx2"/>
                </a:solidFill>
                <a:latin typeface="+mj-lt"/>
              </a:rPr>
              <a:t>Pour les Smectites ils y sont plus faiblement liés et sont donc plus mobilisables et capable de fixer les molécules d’eau, ce qui fait de ces argiles les plus absorbantes et </a:t>
            </a:r>
            <a:r>
              <a:rPr lang="fr-FR" err="1">
                <a:solidFill>
                  <a:schemeClr val="tx2"/>
                </a:solidFill>
                <a:latin typeface="+mj-lt"/>
              </a:rPr>
              <a:t>adsorbantes</a:t>
            </a:r>
            <a:endParaRPr lang="en-US">
              <a:solidFill>
                <a:schemeClr val="tx2"/>
              </a:solidFill>
              <a:latin typeface="+mj-lt"/>
            </a:endParaRPr>
          </a:p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0B1B76-0581-2646-A8E0-320418599697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9647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Première étape : nous recherchons des carrières d’argile dans le monde entier avec des critères très </a:t>
            </a:r>
            <a:r>
              <a:rPr lang="fr-FR" u="sng"/>
              <a:t>sélectifs </a:t>
            </a:r>
            <a:r>
              <a:rPr lang="fr-FR" strike="sngStrike" baseline="0"/>
              <a:t>(</a:t>
            </a:r>
            <a:r>
              <a:rPr lang="fr-FR" strike="sngStrike" baseline="0">
                <a:solidFill>
                  <a:srgbClr val="FF0000"/>
                </a:solidFill>
              </a:rPr>
              <a:t>rigoureux) </a:t>
            </a:r>
            <a:endParaRPr lang="fr-FR" strike="sngStrike" baseline="0"/>
          </a:p>
          <a:p>
            <a:r>
              <a:rPr lang="fr-FR"/>
              <a:t>Pour chaque carrière évaluée, c’est plus de 140 échantillons réalisés par carottage, qui donnent lieu à plus de 1000 analyses selon une 50aine de critères : structure minéralogique, analyse physicochimique, analyse des impuretés élémentaires, tout est passé en revue afin de sélectionner </a:t>
            </a:r>
            <a:r>
              <a:rPr lang="fr-FR" u="sng"/>
              <a:t>les meilleurs </a:t>
            </a:r>
            <a:r>
              <a:rPr lang="fr-FR" strike="sngStrike" baseline="0"/>
              <a:t>un</a:t>
            </a:r>
            <a:r>
              <a:rPr lang="fr-FR"/>
              <a:t> gisements. En 45 ans, seules 4 carrières ont été sélectionnées sur </a:t>
            </a:r>
            <a:r>
              <a:rPr lang="fr-FR" u="sng"/>
              <a:t>plus de </a:t>
            </a:r>
            <a:r>
              <a:rPr lang="fr-FR"/>
              <a:t>360 analysées.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5AEBBF-2B26-4431-988E-D728B6AFE726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6068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7.png"/><Relationship Id="rId7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0.jpeg"/><Relationship Id="rId7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5.jpeg"/><Relationship Id="rId5" Type="http://schemas.openxmlformats.org/officeDocument/2006/relationships/image" Target="../media/image12.jpeg"/><Relationship Id="rId10" Type="http://schemas.openxmlformats.org/officeDocument/2006/relationships/image" Target="../media/image4.png"/><Relationship Id="rId4" Type="http://schemas.openxmlformats.org/officeDocument/2006/relationships/image" Target="../media/image11.jpeg"/><Relationship Id="rId9" Type="http://schemas.openxmlformats.org/officeDocument/2006/relationships/image" Target="../media/image2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image" Target="../media/image10.jpeg"/><Relationship Id="rId7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7.png"/><Relationship Id="rId10" Type="http://schemas.openxmlformats.org/officeDocument/2006/relationships/image" Target="../media/image5.jpeg"/><Relationship Id="rId4" Type="http://schemas.openxmlformats.org/officeDocument/2006/relationships/image" Target="../media/image11.jpeg"/><Relationship Id="rId9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F418EAC9-8554-4933-9BFB-57F8D163B1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78" b="22198"/>
          <a:stretch/>
        </p:blipFill>
        <p:spPr>
          <a:xfrm>
            <a:off x="0" y="225051"/>
            <a:ext cx="9144000" cy="3586230"/>
          </a:xfrm>
          <a:prstGeom prst="rect">
            <a:avLst/>
          </a:prstGeom>
        </p:spPr>
      </p:pic>
      <p:pic>
        <p:nvPicPr>
          <p:cNvPr id="14" name="Image 13" descr="Une image contenant habits, caleçon&#10;&#10;Description générée automatiquement">
            <a:extLst>
              <a:ext uri="{FF2B5EF4-FFF2-40B4-BE49-F238E27FC236}">
                <a16:creationId xmlns:a16="http://schemas.microsoft.com/office/drawing/2014/main" id="{5AAB3804-7A97-2C2E-312C-3C5DE66A77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435" t="144" r="39660" b="-383"/>
          <a:stretch/>
        </p:blipFill>
        <p:spPr>
          <a:xfrm>
            <a:off x="6901156" y="233203"/>
            <a:ext cx="1094985" cy="3585222"/>
          </a:xfrm>
          <a:prstGeom prst="rect">
            <a:avLst/>
          </a:prstGeom>
        </p:spPr>
      </p:pic>
      <p:pic>
        <p:nvPicPr>
          <p:cNvPr id="11" name="Image 10" descr="carre-vierge.png">
            <a:extLst>
              <a:ext uri="{FF2B5EF4-FFF2-40B4-BE49-F238E27FC236}">
                <a16:creationId xmlns:a16="http://schemas.microsoft.com/office/drawing/2014/main" id="{73FF4071-B0A4-4319-BF69-065DBF74D66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3800" y="1092200"/>
            <a:ext cx="2603500" cy="2603500"/>
          </a:xfrm>
          <a:prstGeom prst="rect">
            <a:avLst/>
          </a:prstGeom>
        </p:spPr>
      </p:pic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CDDA0E93-B213-475B-97A7-788B1BCE75BB}"/>
              </a:ext>
            </a:extLst>
          </p:cNvPr>
          <p:cNvSpPr txBox="1">
            <a:spLocks/>
          </p:cNvSpPr>
          <p:nvPr userDrawn="1"/>
        </p:nvSpPr>
        <p:spPr>
          <a:xfrm>
            <a:off x="4934048" y="1126106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2800" b="0" i="0" kern="1200" cap="all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fr-FR"/>
          </a:p>
        </p:txBody>
      </p:sp>
      <p:pic>
        <p:nvPicPr>
          <p:cNvPr id="16" name="Image 15" descr="Une image contenant texte&#10;&#10;Description générée automatiquement">
            <a:extLst>
              <a:ext uri="{FF2B5EF4-FFF2-40B4-BE49-F238E27FC236}">
                <a16:creationId xmlns:a16="http://schemas.microsoft.com/office/drawing/2014/main" id="{9679DC46-64FE-4F39-AD24-D66F7EB03BD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7B82C6E6-2190-4528-AEE0-497F6C42B9C7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5BEA372A-49A4-496C-AA1E-99709ECEF2BB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57309C6F-F831-424D-894B-C7EDDCABC1FF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E2CC235-8B90-06C4-4879-D6E23EEAE5BA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12" name="Image 11" descr="Une image contenant gâteau, chocolat, morceau, tranche&#10;&#10;Description générée automatiquement">
            <a:extLst>
              <a:ext uri="{FF2B5EF4-FFF2-40B4-BE49-F238E27FC236}">
                <a16:creationId xmlns:a16="http://schemas.microsoft.com/office/drawing/2014/main" id="{85110C3C-46BE-78F6-2287-B39B21D36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1042" t="14028" r="51652" b="23990"/>
          <a:stretch/>
        </p:blipFill>
        <p:spPr>
          <a:xfrm>
            <a:off x="1147859" y="225052"/>
            <a:ext cx="1098142" cy="3586230"/>
          </a:xfrm>
          <a:prstGeom prst="rect">
            <a:avLst/>
          </a:prstGeom>
        </p:spPr>
      </p:pic>
      <p:pic>
        <p:nvPicPr>
          <p:cNvPr id="15" name="Image 14" descr="Une image contenant texte, intérieur, personne, cuisine&#10;&#10;Description générée automatiquement">
            <a:extLst>
              <a:ext uri="{FF2B5EF4-FFF2-40B4-BE49-F238E27FC236}">
                <a16:creationId xmlns:a16="http://schemas.microsoft.com/office/drawing/2014/main" id="{006CB848-F3E5-2FEF-CFE4-CA2CF1AE37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0995" t="6118" r="31770" b="3423"/>
          <a:stretch/>
        </p:blipFill>
        <p:spPr>
          <a:xfrm>
            <a:off x="2296625" y="233203"/>
            <a:ext cx="1094985" cy="3578078"/>
          </a:xfrm>
          <a:prstGeom prst="rect">
            <a:avLst/>
          </a:prstGeom>
        </p:spPr>
      </p:pic>
      <p:sp>
        <p:nvSpPr>
          <p:cNvPr id="17" name="Espace réservé du titre 1">
            <a:extLst>
              <a:ext uri="{FF2B5EF4-FFF2-40B4-BE49-F238E27FC236}">
                <a16:creationId xmlns:a16="http://schemas.microsoft.com/office/drawing/2014/main" id="{2DDBB30B-172F-484A-AB1B-8112D6A28F67}"/>
              </a:ext>
            </a:extLst>
          </p:cNvPr>
          <p:cNvSpPr txBox="1">
            <a:spLocks/>
          </p:cNvSpPr>
          <p:nvPr userDrawn="1"/>
        </p:nvSpPr>
        <p:spPr>
          <a:xfrm>
            <a:off x="5047166" y="11303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2800" b="0" i="0" kern="1200" cap="all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sz="2400" dirty="0">
                <a:solidFill>
                  <a:schemeClr val="bg1"/>
                </a:solidFill>
                <a:latin typeface="+mj-lt"/>
              </a:rPr>
              <a:t>Présentation GENERALE</a:t>
            </a:r>
          </a:p>
          <a:p>
            <a:r>
              <a:rPr lang="fr-FR" sz="2400" dirty="0">
                <a:solidFill>
                  <a:schemeClr val="bg1"/>
                </a:solidFill>
                <a:latin typeface="+mj-lt"/>
              </a:rPr>
              <a:t>ISS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1061259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Une image contenant habits, caleçon&#10;&#10;Description générée automatiquement">
            <a:extLst>
              <a:ext uri="{FF2B5EF4-FFF2-40B4-BE49-F238E27FC236}">
                <a16:creationId xmlns:a16="http://schemas.microsoft.com/office/drawing/2014/main" id="{30F4C23C-C957-509A-83DE-C34A2192E7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166" t="28355" r="-3166" b="9326"/>
          <a:stretch/>
        </p:blipFill>
        <p:spPr>
          <a:xfrm>
            <a:off x="0" y="364330"/>
            <a:ext cx="9466940" cy="3933201"/>
          </a:xfrm>
          <a:prstGeom prst="rect">
            <a:avLst/>
          </a:prstGeom>
        </p:spPr>
      </p:pic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716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18100" y="13970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cap="all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941C70DE-AA4E-4583-957B-308C90C0B28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28AB33BB-CDB0-4178-8624-CEA2FDDB64AC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40BD6D3C-3943-40D6-B38F-FDCB955841B4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FC55B54F-9772-4EE6-98ED-A6921925C107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68BB828-2663-4E54-4278-54BD0A695A48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</p:spTree>
    <p:extLst>
      <p:ext uri="{BB962C8B-B14F-4D97-AF65-F5344CB8AC3E}">
        <p14:creationId xmlns:p14="http://schemas.microsoft.com/office/powerpoint/2010/main" val="2412230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462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05400" y="13589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cap="all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C67573A-6732-470B-A739-91ED5716B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E00DE18C-509C-7116-FBBA-8193A0DE0ADA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3A99D7C-940F-394E-EF88-2880EA66C34C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E89DCFD-EC5E-4429-48C1-8BA4905E8D07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45951FB-4C1D-58B5-59E3-85D4E04E4F95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3" name="Image 2" descr="Une image contenant intérieur&#10;&#10;Description générée automatiquement">
            <a:extLst>
              <a:ext uri="{FF2B5EF4-FFF2-40B4-BE49-F238E27FC236}">
                <a16:creationId xmlns:a16="http://schemas.microsoft.com/office/drawing/2014/main" id="{8D68A6A1-56F9-B1EC-0A76-D40C5262B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4452" b="29606"/>
          <a:stretch/>
        </p:blipFill>
        <p:spPr>
          <a:xfrm>
            <a:off x="-1457540" y="334012"/>
            <a:ext cx="10694572" cy="398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7446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462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05400" y="13589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cap="all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C67573A-6732-470B-A739-91ED5716B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E00DE18C-509C-7116-FBBA-8193A0DE0ADA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3A99D7C-940F-394E-EF88-2880EA66C34C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E89DCFD-EC5E-4429-48C1-8BA4905E8D07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45951FB-4C1D-58B5-59E3-85D4E04E4F95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4" name="Image 3" descr="Une image contenant roche, pierre, nature&#10;&#10;Description générée automatiquement">
            <a:extLst>
              <a:ext uri="{FF2B5EF4-FFF2-40B4-BE49-F238E27FC236}">
                <a16:creationId xmlns:a16="http://schemas.microsoft.com/office/drawing/2014/main" id="{6B21A878-D658-BA68-8525-80969A9743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4705" b="22246"/>
          <a:stretch/>
        </p:blipFill>
        <p:spPr>
          <a:xfrm>
            <a:off x="-165005" y="334011"/>
            <a:ext cx="9489024" cy="3988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171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462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05400" y="13589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cap="all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C67573A-6732-470B-A739-91ED5716B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E00DE18C-509C-7116-FBBA-8193A0DE0ADA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3A99D7C-940F-394E-EF88-2880EA66C34C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E89DCFD-EC5E-4429-48C1-8BA4905E8D07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45951FB-4C1D-58B5-59E3-85D4E04E4F95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8980E15-2CCE-BCFB-6984-EB3D70C088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3029" b="21601"/>
          <a:stretch/>
        </p:blipFill>
        <p:spPr>
          <a:xfrm>
            <a:off x="0" y="364726"/>
            <a:ext cx="9144000" cy="398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8454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462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05400" y="13589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cap="all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C67573A-6732-470B-A739-91ED5716B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E00DE18C-509C-7116-FBBA-8193A0DE0ADA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3A99D7C-940F-394E-EF88-2880EA66C34C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E89DCFD-EC5E-4429-48C1-8BA4905E8D07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45951FB-4C1D-58B5-59E3-85D4E04E4F95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1AAD2629-1F31-434D-9E1B-C8A5819075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4401" b="991"/>
          <a:stretch/>
        </p:blipFill>
        <p:spPr>
          <a:xfrm>
            <a:off x="0" y="471949"/>
            <a:ext cx="9144000" cy="405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5557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B1E6DF94-7E5B-22B6-EAB4-E4B099D884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6" t="30936" r="-76"/>
          <a:stretch/>
        </p:blipFill>
        <p:spPr>
          <a:xfrm>
            <a:off x="6941" y="323134"/>
            <a:ext cx="9144000" cy="3984005"/>
          </a:xfrm>
          <a:prstGeom prst="rect">
            <a:avLst/>
          </a:prstGeom>
        </p:spPr>
      </p:pic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462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05400" y="13589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cap="all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C67573A-6732-470B-A739-91ED5716B2C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E00DE18C-509C-7116-FBBA-8193A0DE0ADA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3A99D7C-940F-394E-EF88-2880EA66C34C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E89DCFD-EC5E-4429-48C1-8BA4905E8D07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45951FB-4C1D-58B5-59E3-85D4E04E4F95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</p:spTree>
    <p:extLst>
      <p:ext uri="{BB962C8B-B14F-4D97-AF65-F5344CB8AC3E}">
        <p14:creationId xmlns:p14="http://schemas.microsoft.com/office/powerpoint/2010/main" val="12490360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462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05400" y="13589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cap="all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C67573A-6732-470B-A739-91ED5716B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E00DE18C-509C-7116-FBBA-8193A0DE0ADA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93A99D7C-940F-394E-EF88-2880EA66C34C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BE89DCFD-EC5E-4429-48C1-8BA4905E8D07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45951FB-4C1D-58B5-59E3-85D4E04E4F95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11" name="Image 10" descr="Une image contenant texte, personne&#10;&#10;Description générée automatiquement">
            <a:extLst>
              <a:ext uri="{FF2B5EF4-FFF2-40B4-BE49-F238E27FC236}">
                <a16:creationId xmlns:a16="http://schemas.microsoft.com/office/drawing/2014/main" id="{14075BF7-B492-F074-2AF8-8316CC1A99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23308" b="11272"/>
          <a:stretch/>
        </p:blipFill>
        <p:spPr>
          <a:xfrm>
            <a:off x="-7639" y="338506"/>
            <a:ext cx="9137059" cy="398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3310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6D65B-951A-473F-B97B-98B4E7F46F11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80E91-7657-4D1B-8D5E-4A3477167DD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078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Picture - Rigth Title &amp; Text - B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8">
            <a:extLst>
              <a:ext uri="{FF2B5EF4-FFF2-40B4-BE49-F238E27FC236}">
                <a16:creationId xmlns:a16="http://schemas.microsoft.com/office/drawing/2014/main" id="{8053D155-12AB-5840-9B86-6A8B5873A1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80695"/>
          <a:stretch/>
        </p:blipFill>
        <p:spPr>
          <a:xfrm>
            <a:off x="0" y="1"/>
            <a:ext cx="9143612" cy="1012358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EE685E3-65AE-B446-A6F0-988EBFF8E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744" y="171484"/>
            <a:ext cx="8241378" cy="438462"/>
          </a:xfrm>
          <a:prstGeom prst="rect">
            <a:avLst/>
          </a:prstGeom>
        </p:spPr>
        <p:txBody>
          <a:bodyPr/>
          <a:lstStyle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7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E255FDB-7A9A-AA43-A93E-48000D933C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3744" y="634440"/>
            <a:ext cx="8241378" cy="354312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12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B9208EC-D85B-4D4C-B4A2-0A6EA11906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281113"/>
            <a:ext cx="4572000" cy="321349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DE0785-F9B9-7C42-8E2D-402C4E03F0FB}"/>
              </a:ext>
            </a:extLst>
          </p:cNvPr>
          <p:cNvSpPr/>
          <p:nvPr userDrawn="1"/>
        </p:nvSpPr>
        <p:spPr>
          <a:xfrm>
            <a:off x="4572000" y="1281113"/>
            <a:ext cx="4571612" cy="32075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135727F-987F-C045-B8B8-076D9210D4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66593" y="1529466"/>
            <a:ext cx="3702335" cy="290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500A414-A6B4-6D4A-BC34-87B4A67DEC37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4866593" y="1889375"/>
            <a:ext cx="3702335" cy="2311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Google Shape;26;p3">
            <a:extLst>
              <a:ext uri="{FF2B5EF4-FFF2-40B4-BE49-F238E27FC236}">
                <a16:creationId xmlns:a16="http://schemas.microsoft.com/office/drawing/2014/main" id="{62C38CCE-4E4F-FE48-80A0-2DCE098B898C}"/>
              </a:ext>
            </a:extLst>
          </p:cNvPr>
          <p:cNvSpPr txBox="1">
            <a:spLocks noGrp="1"/>
          </p:cNvSpPr>
          <p:nvPr>
            <p:ph type="body" idx="28" hasCustomPrompt="1"/>
          </p:nvPr>
        </p:nvSpPr>
        <p:spPr>
          <a:xfrm>
            <a:off x="1406236" y="4685319"/>
            <a:ext cx="6513800" cy="32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8" b="0" i="0" u="none" strike="noStrike" cap="none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685800" marR="0" lvl="1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700" marR="0" lvl="2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500" marR="0" lvl="4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fr-FR"/>
              <a:t>Notes or </a:t>
            </a:r>
            <a:r>
              <a:rPr lang="fr-FR" err="1"/>
              <a:t>references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8087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6;p3">
            <a:extLst>
              <a:ext uri="{FF2B5EF4-FFF2-40B4-BE49-F238E27FC236}">
                <a16:creationId xmlns:a16="http://schemas.microsoft.com/office/drawing/2014/main" id="{F93A78E9-3E13-FF45-934C-E385732F0832}"/>
              </a:ext>
            </a:extLst>
          </p:cNvPr>
          <p:cNvSpPr txBox="1">
            <a:spLocks noGrp="1"/>
          </p:cNvSpPr>
          <p:nvPr>
            <p:ph type="body" idx="18" hasCustomPrompt="1"/>
          </p:nvPr>
        </p:nvSpPr>
        <p:spPr>
          <a:xfrm>
            <a:off x="1406236" y="4685319"/>
            <a:ext cx="6513800" cy="326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788" b="0" i="0" u="none" strike="noStrike" cap="none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Arial"/>
              </a:defRPr>
            </a:lvl1pPr>
            <a:lvl2pPr marL="685800" marR="0" lvl="1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700" marR="0" lvl="2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500" marR="0" lvl="4" indent="-238125" algn="l" rtl="0">
              <a:lnSpc>
                <a:spcPct val="15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0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fr-FR"/>
              <a:t>Notes or </a:t>
            </a:r>
            <a:r>
              <a:rPr lang="fr-FR" err="1"/>
              <a:t>references</a:t>
            </a:r>
            <a:endParaRPr lang="fr-FR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5F42740-875F-2F4F-A359-EFDB64D69C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532" y="171484"/>
            <a:ext cx="8154590" cy="438462"/>
          </a:xfrm>
          <a:prstGeom prst="rect">
            <a:avLst/>
          </a:prstGeom>
        </p:spPr>
        <p:txBody>
          <a:bodyPr lIns="0" tIns="0" rIns="0" bIns="0" anchor="b"/>
          <a:lstStyle>
            <a:lvl1pPr marL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7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AB833C6-788A-A942-B7EE-A9B5DCA021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0531" y="634440"/>
            <a:ext cx="8154591" cy="35431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lang="en-GB" sz="18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1C27E552-E212-0447-9CCA-8B0FE98C8D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0531" y="1280626"/>
            <a:ext cx="8154591" cy="32284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7" name="Image 2">
            <a:extLst>
              <a:ext uri="{FF2B5EF4-FFF2-40B4-BE49-F238E27FC236}">
                <a16:creationId xmlns:a16="http://schemas.microsoft.com/office/drawing/2014/main" id="{83C69683-A876-0045-9DFA-B454FD98CC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42" t="-5" r="91716" b="65126"/>
          <a:stretch/>
        </p:blipFill>
        <p:spPr>
          <a:xfrm>
            <a:off x="-1" y="0"/>
            <a:ext cx="197644" cy="128062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6E6CE12-9F8D-F348-B55D-D2526263B780}"/>
              </a:ext>
            </a:extLst>
          </p:cNvPr>
          <p:cNvSpPr/>
          <p:nvPr userDrawn="1"/>
        </p:nvSpPr>
        <p:spPr>
          <a:xfrm>
            <a:off x="-1" y="0"/>
            <a:ext cx="197645" cy="128062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0000">
                <a:srgbClr val="FFFFFF">
                  <a:alpha val="50000"/>
                </a:srgb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</p:spTree>
    <p:extLst>
      <p:ext uri="{BB962C8B-B14F-4D97-AF65-F5344CB8AC3E}">
        <p14:creationId xmlns:p14="http://schemas.microsoft.com/office/powerpoint/2010/main" val="1004581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32">
          <p15:clr>
            <a:srgbClr val="FBAE40"/>
          </p15:clr>
        </p15:guide>
        <p15:guide id="2" orient="horz" pos="3793">
          <p15:clr>
            <a:srgbClr val="FBAE40"/>
          </p15:clr>
        </p15:guide>
        <p15:guide id="3" pos="370">
          <p15:clr>
            <a:srgbClr val="FBAE40"/>
          </p15:clr>
        </p15:guide>
        <p15:guide id="4" pos="7219">
          <p15:clr>
            <a:srgbClr val="FBAE40"/>
          </p15:clr>
        </p15:guide>
        <p15:guide id="5" orient="horz" pos="107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 43">
            <a:extLst>
              <a:ext uri="{FF2B5EF4-FFF2-40B4-BE49-F238E27FC236}">
                <a16:creationId xmlns:a16="http://schemas.microsoft.com/office/drawing/2014/main" id="{EA85B321-AEB8-593A-9551-EF6C40A93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438" t="8078" r="12681" b="22198"/>
          <a:stretch/>
        </p:blipFill>
        <p:spPr>
          <a:xfrm>
            <a:off x="4600294" y="500704"/>
            <a:ext cx="1123491" cy="373507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3C12F26-3B42-EA3B-78FA-E31868E4F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60030" t="39857" r="24111" b="18374"/>
          <a:stretch/>
        </p:blipFill>
        <p:spPr>
          <a:xfrm>
            <a:off x="5749915" y="500705"/>
            <a:ext cx="1099649" cy="3750044"/>
          </a:xfrm>
          <a:prstGeom prst="rect">
            <a:avLst/>
          </a:prstGeom>
        </p:spPr>
      </p:pic>
      <p:pic>
        <p:nvPicPr>
          <p:cNvPr id="42" name="Image 41" descr="Une image contenant arbre, plante&#10;&#10;Description générée automatiquement">
            <a:extLst>
              <a:ext uri="{FF2B5EF4-FFF2-40B4-BE49-F238E27FC236}">
                <a16:creationId xmlns:a16="http://schemas.microsoft.com/office/drawing/2014/main" id="{2F75FA10-D912-ECD0-CAEE-99721E635F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3577" t="38589" r="10754" b="32386"/>
          <a:stretch/>
        </p:blipFill>
        <p:spPr>
          <a:xfrm rot="16200000">
            <a:off x="5585898" y="1823708"/>
            <a:ext cx="3740446" cy="1094440"/>
          </a:xfrm>
          <a:prstGeom prst="rect">
            <a:avLst/>
          </a:prstGeom>
        </p:spPr>
      </p:pic>
      <p:pic>
        <p:nvPicPr>
          <p:cNvPr id="38" name="Image 37" descr="Une image contenant intérieur&#10;&#10;Description générée automatiquement">
            <a:extLst>
              <a:ext uri="{FF2B5EF4-FFF2-40B4-BE49-F238E27FC236}">
                <a16:creationId xmlns:a16="http://schemas.microsoft.com/office/drawing/2014/main" id="{ABA1D7D0-2DE4-5E7D-5E7A-DE43DEBA5A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4562" r="55928"/>
          <a:stretch/>
        </p:blipFill>
        <p:spPr>
          <a:xfrm>
            <a:off x="5708" y="495473"/>
            <a:ext cx="1094438" cy="3747444"/>
          </a:xfrm>
          <a:prstGeom prst="rect">
            <a:avLst/>
          </a:prstGeom>
        </p:spPr>
      </p:pic>
      <p:pic>
        <p:nvPicPr>
          <p:cNvPr id="11" name="Image 10" descr="carre-vierge.png">
            <a:extLst>
              <a:ext uri="{FF2B5EF4-FFF2-40B4-BE49-F238E27FC236}">
                <a16:creationId xmlns:a16="http://schemas.microsoft.com/office/drawing/2014/main" id="{73FF4071-B0A4-4319-BF69-065DBF74D6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6366" y="1092200"/>
            <a:ext cx="2603500" cy="2603500"/>
          </a:xfrm>
          <a:prstGeom prst="rect">
            <a:avLst/>
          </a:prstGeom>
        </p:spPr>
      </p:pic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CDDA0E93-B213-475B-97A7-788B1BCE75BB}"/>
              </a:ext>
            </a:extLst>
          </p:cNvPr>
          <p:cNvSpPr txBox="1">
            <a:spLocks/>
          </p:cNvSpPr>
          <p:nvPr userDrawn="1"/>
        </p:nvSpPr>
        <p:spPr>
          <a:xfrm>
            <a:off x="5047166" y="11303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2800" b="0" i="0" kern="1200" cap="all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sz="2400">
                <a:solidFill>
                  <a:schemeClr val="bg1"/>
                </a:solidFill>
                <a:latin typeface="+mj-lt"/>
              </a:rPr>
              <a:t>Nos challenges 2023</a:t>
            </a:r>
            <a:endParaRPr lang="fr-FR" sz="240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A5E3AC4B-0140-CD02-2C1E-6BA9464D4F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787" t="7962" r="25433" b="21071"/>
          <a:stretch/>
        </p:blipFill>
        <p:spPr>
          <a:xfrm>
            <a:off x="1151516" y="500705"/>
            <a:ext cx="1098142" cy="3735068"/>
          </a:xfrm>
          <a:prstGeom prst="rect">
            <a:avLst/>
          </a:prstGeom>
        </p:spPr>
      </p:pic>
      <p:pic>
        <p:nvPicPr>
          <p:cNvPr id="34" name="Image 33" descr="Une image contenant habits, caleçon&#10;&#10;Description générée automatiquement">
            <a:extLst>
              <a:ext uri="{FF2B5EF4-FFF2-40B4-BE49-F238E27FC236}">
                <a16:creationId xmlns:a16="http://schemas.microsoft.com/office/drawing/2014/main" id="{74EDD43D-9AAD-F150-4D1E-09DCF50D64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435" t="144" r="39660" b="-383"/>
          <a:stretch/>
        </p:blipFill>
        <p:spPr>
          <a:xfrm>
            <a:off x="8057851" y="500704"/>
            <a:ext cx="1166425" cy="3755089"/>
          </a:xfrm>
          <a:prstGeom prst="rect">
            <a:avLst/>
          </a:prstGeom>
        </p:spPr>
      </p:pic>
      <p:pic>
        <p:nvPicPr>
          <p:cNvPr id="45" name="Image 44" descr="Une image contenant texte&#10;&#10;Description générée automatiquement">
            <a:extLst>
              <a:ext uri="{FF2B5EF4-FFF2-40B4-BE49-F238E27FC236}">
                <a16:creationId xmlns:a16="http://schemas.microsoft.com/office/drawing/2014/main" id="{D79F6D7E-FA81-1766-F48B-60B71DF2CB9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018EC4C5-A5E2-1F98-8403-881F138D017B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2295158F-61AC-3885-C23E-8F5336750592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51C8FCC-7156-58C5-EF9F-95EDB33EF249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290EE1A4-EDAD-7D76-99FC-A23038F527E7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6DEC62B8-0E44-F338-A507-A0DADC5E7E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974" t="10463" r="661" b="21071"/>
          <a:stretch/>
        </p:blipFill>
        <p:spPr>
          <a:xfrm>
            <a:off x="3442815" y="500705"/>
            <a:ext cx="1098142" cy="3747444"/>
          </a:xfrm>
          <a:prstGeom prst="rect">
            <a:avLst/>
          </a:prstGeom>
        </p:spPr>
      </p:pic>
      <p:pic>
        <p:nvPicPr>
          <p:cNvPr id="18" name="Image 17" descr="Une image contenant gâteau, chocolat, morceau, tranche&#10;&#10;Description générée automatiquement">
            <a:extLst>
              <a:ext uri="{FF2B5EF4-FFF2-40B4-BE49-F238E27FC236}">
                <a16:creationId xmlns:a16="http://schemas.microsoft.com/office/drawing/2014/main" id="{54773CF7-0BC8-F3F4-68DE-7A4235631B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21042" t="14028" r="51652" b="23990"/>
          <a:stretch/>
        </p:blipFill>
        <p:spPr>
          <a:xfrm>
            <a:off x="2298003" y="500704"/>
            <a:ext cx="1098142" cy="374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752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6C254F7-5A85-4692-A9D5-3EA69E5D1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BA20436-9879-4752-9CA3-20E9D3C13A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1E9A19C-E6D7-4A6D-8FFB-B86BDBAF17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6D4D4-88DF-4E87-9FD9-4B53A98C8D05}" type="datetimeFigureOut">
              <a:rPr lang="fr-FR" smtClean="0"/>
              <a:t>10/04/2025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25E98D7-C932-4FD1-93D0-78618DA18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997E070-671A-4EC7-9452-22E93E80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02CCC4-B416-4EFB-A8B8-192B4136386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36708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uver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D34CD842-C671-9728-4B58-C58AD37E87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2908" y="4129549"/>
            <a:ext cx="2031485" cy="1013951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4E2EAF-40A6-FC81-E31C-F7A82342AE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7275" y="1805941"/>
            <a:ext cx="3857625" cy="9140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579F253-BCBD-3943-157C-AD06EBEB0B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7275" y="2837524"/>
            <a:ext cx="3857625" cy="2077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E53532-E0F9-BCD6-1239-44472A3ABAF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513236" y="803615"/>
            <a:ext cx="5085236" cy="3108668"/>
          </a:xfrm>
          <a:custGeom>
            <a:avLst/>
            <a:gdLst>
              <a:gd name="connsiteX0" fmla="*/ 6764078 w 6780315"/>
              <a:gd name="connsiteY0" fmla="*/ 1310167 h 4144891"/>
              <a:gd name="connsiteX1" fmla="*/ 6764078 w 6780315"/>
              <a:gd name="connsiteY1" fmla="*/ 3361972 h 4144891"/>
              <a:gd name="connsiteX2" fmla="*/ 6534387 w 6780315"/>
              <a:gd name="connsiteY2" fmla="*/ 3915971 h 4144891"/>
              <a:gd name="connsiteX3" fmla="*/ 5907237 w 6780315"/>
              <a:gd name="connsiteY3" fmla="*/ 4144836 h 4144891"/>
              <a:gd name="connsiteX4" fmla="*/ 5282785 w 6780315"/>
              <a:gd name="connsiteY4" fmla="*/ 3915916 h 4144891"/>
              <a:gd name="connsiteX5" fmla="*/ 5050397 w 6780315"/>
              <a:gd name="connsiteY5" fmla="*/ 3361972 h 4144891"/>
              <a:gd name="connsiteX6" fmla="*/ 5050397 w 6780315"/>
              <a:gd name="connsiteY6" fmla="*/ 3029297 h 4144891"/>
              <a:gd name="connsiteX7" fmla="*/ 5143473 w 6780315"/>
              <a:gd name="connsiteY7" fmla="*/ 2937542 h 4144891"/>
              <a:gd name="connsiteX8" fmla="*/ 5145564 w 6780315"/>
              <a:gd name="connsiteY8" fmla="*/ 2935505 h 4144891"/>
              <a:gd name="connsiteX9" fmla="*/ 5145564 w 6780315"/>
              <a:gd name="connsiteY9" fmla="*/ 2935450 h 4144891"/>
              <a:gd name="connsiteX10" fmla="*/ 6640398 w 6780315"/>
              <a:gd name="connsiteY10" fmla="*/ 1461368 h 4144891"/>
              <a:gd name="connsiteX11" fmla="*/ 6764078 w 6780315"/>
              <a:gd name="connsiteY11" fmla="*/ 1310167 h 4144891"/>
              <a:gd name="connsiteX12" fmla="*/ 2442061 w 6780315"/>
              <a:gd name="connsiteY12" fmla="*/ 591427 h 4144891"/>
              <a:gd name="connsiteX13" fmla="*/ 2418613 w 6780315"/>
              <a:gd name="connsiteY13" fmla="*/ 798220 h 4144891"/>
              <a:gd name="connsiteX14" fmla="*/ 2418613 w 6780315"/>
              <a:gd name="connsiteY14" fmla="*/ 2917121 h 4144891"/>
              <a:gd name="connsiteX15" fmla="*/ 1402756 w 6780315"/>
              <a:gd name="connsiteY15" fmla="*/ 3918999 h 4144891"/>
              <a:gd name="connsiteX16" fmla="*/ 852169 w 6780315"/>
              <a:gd name="connsiteY16" fmla="*/ 4144836 h 4144891"/>
              <a:gd name="connsiteX17" fmla="*/ 264154 w 6780315"/>
              <a:gd name="connsiteY17" fmla="*/ 3881680 h 4144891"/>
              <a:gd name="connsiteX18" fmla="*/ 2484 w 6780315"/>
              <a:gd name="connsiteY18" fmla="*/ 3338910 h 4144891"/>
              <a:gd name="connsiteX19" fmla="*/ 200305 w 6780315"/>
              <a:gd name="connsiteY19" fmla="*/ 2802249 h 4144891"/>
              <a:gd name="connsiteX20" fmla="*/ 5977141 w 6780315"/>
              <a:gd name="connsiteY20" fmla="*/ 0 h 4144891"/>
              <a:gd name="connsiteX21" fmla="*/ 6291542 w 6780315"/>
              <a:gd name="connsiteY21" fmla="*/ 64014 h 4144891"/>
              <a:gd name="connsiteX22" fmla="*/ 6291597 w 6780315"/>
              <a:gd name="connsiteY22" fmla="*/ 64124 h 4144891"/>
              <a:gd name="connsiteX23" fmla="*/ 6780315 w 6780315"/>
              <a:gd name="connsiteY23" fmla="*/ 798331 h 4144891"/>
              <a:gd name="connsiteX24" fmla="*/ 6780315 w 6780315"/>
              <a:gd name="connsiteY24" fmla="*/ 852713 h 4144891"/>
              <a:gd name="connsiteX25" fmla="*/ 6764133 w 6780315"/>
              <a:gd name="connsiteY25" fmla="*/ 963732 h 4144891"/>
              <a:gd name="connsiteX26" fmla="*/ 6545286 w 6780315"/>
              <a:gd name="connsiteY26" fmla="*/ 1364989 h 4144891"/>
              <a:gd name="connsiteX27" fmla="*/ 5050452 w 6780315"/>
              <a:gd name="connsiteY27" fmla="*/ 2839073 h 4144891"/>
              <a:gd name="connsiteX28" fmla="*/ 5048360 w 6780315"/>
              <a:gd name="connsiteY28" fmla="*/ 2841109 h 4144891"/>
              <a:gd name="connsiteX29" fmla="*/ 5048360 w 6780315"/>
              <a:gd name="connsiteY29" fmla="*/ 2839128 h 4144891"/>
              <a:gd name="connsiteX30" fmla="*/ 3958471 w 6780315"/>
              <a:gd name="connsiteY30" fmla="*/ 3913880 h 4144891"/>
              <a:gd name="connsiteX31" fmla="*/ 3412399 w 6780315"/>
              <a:gd name="connsiteY31" fmla="*/ 4144891 h 4144891"/>
              <a:gd name="connsiteX32" fmla="*/ 2923019 w 6780315"/>
              <a:gd name="connsiteY32" fmla="*/ 3982903 h 4144891"/>
              <a:gd name="connsiteX33" fmla="*/ 2554126 w 6780315"/>
              <a:gd name="connsiteY33" fmla="*/ 3311444 h 4144891"/>
              <a:gd name="connsiteX34" fmla="*/ 2554126 w 6780315"/>
              <a:gd name="connsiteY34" fmla="*/ 798276 h 4144891"/>
              <a:gd name="connsiteX35" fmla="*/ 2703400 w 6780315"/>
              <a:gd name="connsiteY35" fmla="*/ 333721 h 4144891"/>
              <a:gd name="connsiteX36" fmla="*/ 2828676 w 6780315"/>
              <a:gd name="connsiteY36" fmla="*/ 193969 h 4144891"/>
              <a:gd name="connsiteX37" fmla="*/ 2833080 w 6780315"/>
              <a:gd name="connsiteY37" fmla="*/ 190226 h 4144891"/>
              <a:gd name="connsiteX38" fmla="*/ 3419884 w 6780315"/>
              <a:gd name="connsiteY38" fmla="*/ 2422 h 4144891"/>
              <a:gd name="connsiteX39" fmla="*/ 3753054 w 6780315"/>
              <a:gd name="connsiteY39" fmla="*/ 64069 h 4144891"/>
              <a:gd name="connsiteX40" fmla="*/ 4241773 w 6780315"/>
              <a:gd name="connsiteY40" fmla="*/ 798276 h 4144891"/>
              <a:gd name="connsiteX41" fmla="*/ 4241773 w 6780315"/>
              <a:gd name="connsiteY41" fmla="*/ 1399006 h 4144891"/>
              <a:gd name="connsiteX42" fmla="*/ 4339307 w 6780315"/>
              <a:gd name="connsiteY42" fmla="*/ 1302847 h 4144891"/>
              <a:gd name="connsiteX43" fmla="*/ 4346959 w 6780315"/>
              <a:gd name="connsiteY43" fmla="*/ 1297288 h 4144891"/>
              <a:gd name="connsiteX44" fmla="*/ 5427655 w 6780315"/>
              <a:gd name="connsiteY44" fmla="*/ 231562 h 4144891"/>
              <a:gd name="connsiteX45" fmla="*/ 5977141 w 6780315"/>
              <a:gd name="connsiteY45" fmla="*/ 0 h 4144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780315" h="4144891">
                <a:moveTo>
                  <a:pt x="6764078" y="1310167"/>
                </a:moveTo>
                <a:lnTo>
                  <a:pt x="6764078" y="3361972"/>
                </a:lnTo>
                <a:cubicBezTo>
                  <a:pt x="6764078" y="3577627"/>
                  <a:pt x="6682505" y="3774347"/>
                  <a:pt x="6534387" y="3915971"/>
                </a:cubicBezTo>
                <a:cubicBezTo>
                  <a:pt x="6377848" y="4065685"/>
                  <a:pt x="6158229" y="4144836"/>
                  <a:pt x="5907237" y="4144836"/>
                </a:cubicBezTo>
                <a:cubicBezTo>
                  <a:pt x="5656245" y="4144836"/>
                  <a:pt x="5440315" y="4065685"/>
                  <a:pt x="5282785" y="3915916"/>
                </a:cubicBezTo>
                <a:cubicBezTo>
                  <a:pt x="5132904" y="3773467"/>
                  <a:pt x="5050397" y="3576746"/>
                  <a:pt x="5050397" y="3361972"/>
                </a:cubicBezTo>
                <a:lnTo>
                  <a:pt x="5050397" y="3029297"/>
                </a:lnTo>
                <a:lnTo>
                  <a:pt x="5143473" y="2937542"/>
                </a:lnTo>
                <a:lnTo>
                  <a:pt x="5145564" y="2935505"/>
                </a:lnTo>
                <a:lnTo>
                  <a:pt x="5145564" y="2935450"/>
                </a:lnTo>
                <a:lnTo>
                  <a:pt x="6640398" y="1461368"/>
                </a:lnTo>
                <a:cubicBezTo>
                  <a:pt x="6687185" y="1415242"/>
                  <a:pt x="6728411" y="1364439"/>
                  <a:pt x="6764078" y="1310167"/>
                </a:cubicBezTo>
                <a:close/>
                <a:moveTo>
                  <a:pt x="2442061" y="591427"/>
                </a:moveTo>
                <a:cubicBezTo>
                  <a:pt x="2426704" y="658799"/>
                  <a:pt x="2418613" y="728042"/>
                  <a:pt x="2418613" y="798220"/>
                </a:cubicBezTo>
                <a:lnTo>
                  <a:pt x="2418613" y="2917121"/>
                </a:lnTo>
                <a:lnTo>
                  <a:pt x="1402756" y="3918999"/>
                </a:lnTo>
                <a:cubicBezTo>
                  <a:pt x="1255077" y="4064640"/>
                  <a:pt x="1051752" y="4144836"/>
                  <a:pt x="852169" y="4144836"/>
                </a:cubicBezTo>
                <a:cubicBezTo>
                  <a:pt x="652586" y="4144836"/>
                  <a:pt x="421794" y="4041522"/>
                  <a:pt x="264154" y="3881680"/>
                </a:cubicBezTo>
                <a:cubicBezTo>
                  <a:pt x="111743" y="3727122"/>
                  <a:pt x="18776" y="3534364"/>
                  <a:pt x="2484" y="3338910"/>
                </a:cubicBezTo>
                <a:cubicBezTo>
                  <a:pt x="-14469" y="3135364"/>
                  <a:pt x="55765" y="2944808"/>
                  <a:pt x="200305" y="2802249"/>
                </a:cubicBezTo>
                <a:close/>
                <a:moveTo>
                  <a:pt x="5977141" y="0"/>
                </a:moveTo>
                <a:cubicBezTo>
                  <a:pt x="6072474" y="0"/>
                  <a:pt x="6177715" y="18219"/>
                  <a:pt x="6291542" y="64014"/>
                </a:cubicBezTo>
                <a:lnTo>
                  <a:pt x="6291597" y="64124"/>
                </a:lnTo>
                <a:cubicBezTo>
                  <a:pt x="6589265" y="183896"/>
                  <a:pt x="6780315" y="477436"/>
                  <a:pt x="6780315" y="798331"/>
                </a:cubicBezTo>
                <a:lnTo>
                  <a:pt x="6780315" y="852713"/>
                </a:lnTo>
                <a:cubicBezTo>
                  <a:pt x="6777784" y="889976"/>
                  <a:pt x="6771894" y="927019"/>
                  <a:pt x="6764133" y="963732"/>
                </a:cubicBezTo>
                <a:cubicBezTo>
                  <a:pt x="6732979" y="1111080"/>
                  <a:pt x="6660543" y="1251328"/>
                  <a:pt x="6545286" y="1364989"/>
                </a:cubicBezTo>
                <a:lnTo>
                  <a:pt x="5050452" y="2839073"/>
                </a:lnTo>
                <a:lnTo>
                  <a:pt x="5048360" y="2841109"/>
                </a:lnTo>
                <a:lnTo>
                  <a:pt x="5048360" y="2839128"/>
                </a:lnTo>
                <a:lnTo>
                  <a:pt x="3958471" y="3913880"/>
                </a:lnTo>
                <a:cubicBezTo>
                  <a:pt x="3866936" y="4004149"/>
                  <a:pt x="3673298" y="4144891"/>
                  <a:pt x="3412399" y="4144891"/>
                </a:cubicBezTo>
                <a:cubicBezTo>
                  <a:pt x="3267968" y="4144891"/>
                  <a:pt x="3102841" y="4101683"/>
                  <a:pt x="2923019" y="3982903"/>
                </a:cubicBezTo>
                <a:cubicBezTo>
                  <a:pt x="2701309" y="3841665"/>
                  <a:pt x="2554126" y="3593810"/>
                  <a:pt x="2554126" y="3311444"/>
                </a:cubicBezTo>
                <a:lnTo>
                  <a:pt x="2554126" y="798276"/>
                </a:lnTo>
                <a:cubicBezTo>
                  <a:pt x="2554126" y="628856"/>
                  <a:pt x="2608068" y="467858"/>
                  <a:pt x="2703400" y="333721"/>
                </a:cubicBezTo>
                <a:cubicBezTo>
                  <a:pt x="2739508" y="282971"/>
                  <a:pt x="2781340" y="235966"/>
                  <a:pt x="2828676" y="193969"/>
                </a:cubicBezTo>
                <a:cubicBezTo>
                  <a:pt x="2830107" y="192647"/>
                  <a:pt x="2831649" y="191491"/>
                  <a:pt x="2833080" y="190226"/>
                </a:cubicBezTo>
                <a:cubicBezTo>
                  <a:pt x="2985932" y="67262"/>
                  <a:pt x="3207532" y="2422"/>
                  <a:pt x="3419884" y="2422"/>
                </a:cubicBezTo>
                <a:cubicBezTo>
                  <a:pt x="3538280" y="2422"/>
                  <a:pt x="3653868" y="22567"/>
                  <a:pt x="3753054" y="64069"/>
                </a:cubicBezTo>
                <a:cubicBezTo>
                  <a:pt x="4049070" y="187914"/>
                  <a:pt x="4241773" y="477381"/>
                  <a:pt x="4241773" y="798276"/>
                </a:cubicBezTo>
                <a:lnTo>
                  <a:pt x="4241773" y="1399006"/>
                </a:lnTo>
                <a:lnTo>
                  <a:pt x="4339307" y="1302847"/>
                </a:lnTo>
                <a:cubicBezTo>
                  <a:pt x="4341895" y="1300975"/>
                  <a:pt x="4344592" y="1299599"/>
                  <a:pt x="4346959" y="1297288"/>
                </a:cubicBezTo>
                <a:lnTo>
                  <a:pt x="5427655" y="231562"/>
                </a:lnTo>
                <a:cubicBezTo>
                  <a:pt x="5506530" y="153788"/>
                  <a:pt x="5700114" y="0"/>
                  <a:pt x="5977141" y="0"/>
                </a:cubicBezTo>
                <a:close/>
              </a:path>
            </a:pathLst>
          </a:custGeom>
          <a:solidFill>
            <a:srgbClr val="003C70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583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  <p15:guide id="3" orient="horz" pos="232">
          <p15:clr>
            <a:srgbClr val="FBAE40"/>
          </p15:clr>
        </p15:guide>
        <p15:guide id="4" orient="horz" pos="408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uver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4E2EAF-40A6-FC81-E31C-F7A82342AE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67275" y="1805941"/>
            <a:ext cx="3857625" cy="9140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tx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579F253-BCBD-3943-157C-AD06EBEB0B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7275" y="2837524"/>
            <a:ext cx="3857625" cy="2077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E53532-E0F9-BCD6-1239-44472A3ABAF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513236" y="803615"/>
            <a:ext cx="5085236" cy="3108668"/>
          </a:xfrm>
          <a:custGeom>
            <a:avLst/>
            <a:gdLst>
              <a:gd name="connsiteX0" fmla="*/ 6764078 w 6780315"/>
              <a:gd name="connsiteY0" fmla="*/ 1310167 h 4144891"/>
              <a:gd name="connsiteX1" fmla="*/ 6764078 w 6780315"/>
              <a:gd name="connsiteY1" fmla="*/ 3361972 h 4144891"/>
              <a:gd name="connsiteX2" fmla="*/ 6534387 w 6780315"/>
              <a:gd name="connsiteY2" fmla="*/ 3915971 h 4144891"/>
              <a:gd name="connsiteX3" fmla="*/ 5907237 w 6780315"/>
              <a:gd name="connsiteY3" fmla="*/ 4144836 h 4144891"/>
              <a:gd name="connsiteX4" fmla="*/ 5282785 w 6780315"/>
              <a:gd name="connsiteY4" fmla="*/ 3915916 h 4144891"/>
              <a:gd name="connsiteX5" fmla="*/ 5050397 w 6780315"/>
              <a:gd name="connsiteY5" fmla="*/ 3361972 h 4144891"/>
              <a:gd name="connsiteX6" fmla="*/ 5050397 w 6780315"/>
              <a:gd name="connsiteY6" fmla="*/ 3029297 h 4144891"/>
              <a:gd name="connsiteX7" fmla="*/ 5143473 w 6780315"/>
              <a:gd name="connsiteY7" fmla="*/ 2937542 h 4144891"/>
              <a:gd name="connsiteX8" fmla="*/ 5145564 w 6780315"/>
              <a:gd name="connsiteY8" fmla="*/ 2935505 h 4144891"/>
              <a:gd name="connsiteX9" fmla="*/ 5145564 w 6780315"/>
              <a:gd name="connsiteY9" fmla="*/ 2935450 h 4144891"/>
              <a:gd name="connsiteX10" fmla="*/ 6640398 w 6780315"/>
              <a:gd name="connsiteY10" fmla="*/ 1461368 h 4144891"/>
              <a:gd name="connsiteX11" fmla="*/ 6764078 w 6780315"/>
              <a:gd name="connsiteY11" fmla="*/ 1310167 h 4144891"/>
              <a:gd name="connsiteX12" fmla="*/ 2442061 w 6780315"/>
              <a:gd name="connsiteY12" fmla="*/ 591427 h 4144891"/>
              <a:gd name="connsiteX13" fmla="*/ 2418613 w 6780315"/>
              <a:gd name="connsiteY13" fmla="*/ 798220 h 4144891"/>
              <a:gd name="connsiteX14" fmla="*/ 2418613 w 6780315"/>
              <a:gd name="connsiteY14" fmla="*/ 2917121 h 4144891"/>
              <a:gd name="connsiteX15" fmla="*/ 1402756 w 6780315"/>
              <a:gd name="connsiteY15" fmla="*/ 3918999 h 4144891"/>
              <a:gd name="connsiteX16" fmla="*/ 852169 w 6780315"/>
              <a:gd name="connsiteY16" fmla="*/ 4144836 h 4144891"/>
              <a:gd name="connsiteX17" fmla="*/ 264154 w 6780315"/>
              <a:gd name="connsiteY17" fmla="*/ 3881680 h 4144891"/>
              <a:gd name="connsiteX18" fmla="*/ 2484 w 6780315"/>
              <a:gd name="connsiteY18" fmla="*/ 3338910 h 4144891"/>
              <a:gd name="connsiteX19" fmla="*/ 200305 w 6780315"/>
              <a:gd name="connsiteY19" fmla="*/ 2802249 h 4144891"/>
              <a:gd name="connsiteX20" fmla="*/ 5977141 w 6780315"/>
              <a:gd name="connsiteY20" fmla="*/ 0 h 4144891"/>
              <a:gd name="connsiteX21" fmla="*/ 6291542 w 6780315"/>
              <a:gd name="connsiteY21" fmla="*/ 64014 h 4144891"/>
              <a:gd name="connsiteX22" fmla="*/ 6291597 w 6780315"/>
              <a:gd name="connsiteY22" fmla="*/ 64124 h 4144891"/>
              <a:gd name="connsiteX23" fmla="*/ 6780315 w 6780315"/>
              <a:gd name="connsiteY23" fmla="*/ 798331 h 4144891"/>
              <a:gd name="connsiteX24" fmla="*/ 6780315 w 6780315"/>
              <a:gd name="connsiteY24" fmla="*/ 852713 h 4144891"/>
              <a:gd name="connsiteX25" fmla="*/ 6764133 w 6780315"/>
              <a:gd name="connsiteY25" fmla="*/ 963732 h 4144891"/>
              <a:gd name="connsiteX26" fmla="*/ 6545286 w 6780315"/>
              <a:gd name="connsiteY26" fmla="*/ 1364989 h 4144891"/>
              <a:gd name="connsiteX27" fmla="*/ 5050452 w 6780315"/>
              <a:gd name="connsiteY27" fmla="*/ 2839073 h 4144891"/>
              <a:gd name="connsiteX28" fmla="*/ 5048360 w 6780315"/>
              <a:gd name="connsiteY28" fmla="*/ 2841109 h 4144891"/>
              <a:gd name="connsiteX29" fmla="*/ 5048360 w 6780315"/>
              <a:gd name="connsiteY29" fmla="*/ 2839128 h 4144891"/>
              <a:gd name="connsiteX30" fmla="*/ 3958471 w 6780315"/>
              <a:gd name="connsiteY30" fmla="*/ 3913880 h 4144891"/>
              <a:gd name="connsiteX31" fmla="*/ 3412399 w 6780315"/>
              <a:gd name="connsiteY31" fmla="*/ 4144891 h 4144891"/>
              <a:gd name="connsiteX32" fmla="*/ 2923019 w 6780315"/>
              <a:gd name="connsiteY32" fmla="*/ 3982903 h 4144891"/>
              <a:gd name="connsiteX33" fmla="*/ 2554126 w 6780315"/>
              <a:gd name="connsiteY33" fmla="*/ 3311444 h 4144891"/>
              <a:gd name="connsiteX34" fmla="*/ 2554126 w 6780315"/>
              <a:gd name="connsiteY34" fmla="*/ 798276 h 4144891"/>
              <a:gd name="connsiteX35" fmla="*/ 2703400 w 6780315"/>
              <a:gd name="connsiteY35" fmla="*/ 333721 h 4144891"/>
              <a:gd name="connsiteX36" fmla="*/ 2828676 w 6780315"/>
              <a:gd name="connsiteY36" fmla="*/ 193969 h 4144891"/>
              <a:gd name="connsiteX37" fmla="*/ 2833080 w 6780315"/>
              <a:gd name="connsiteY37" fmla="*/ 190226 h 4144891"/>
              <a:gd name="connsiteX38" fmla="*/ 3419884 w 6780315"/>
              <a:gd name="connsiteY38" fmla="*/ 2422 h 4144891"/>
              <a:gd name="connsiteX39" fmla="*/ 3753054 w 6780315"/>
              <a:gd name="connsiteY39" fmla="*/ 64069 h 4144891"/>
              <a:gd name="connsiteX40" fmla="*/ 4241773 w 6780315"/>
              <a:gd name="connsiteY40" fmla="*/ 798276 h 4144891"/>
              <a:gd name="connsiteX41" fmla="*/ 4241773 w 6780315"/>
              <a:gd name="connsiteY41" fmla="*/ 1399006 h 4144891"/>
              <a:gd name="connsiteX42" fmla="*/ 4339307 w 6780315"/>
              <a:gd name="connsiteY42" fmla="*/ 1302847 h 4144891"/>
              <a:gd name="connsiteX43" fmla="*/ 4346959 w 6780315"/>
              <a:gd name="connsiteY43" fmla="*/ 1297288 h 4144891"/>
              <a:gd name="connsiteX44" fmla="*/ 5427655 w 6780315"/>
              <a:gd name="connsiteY44" fmla="*/ 231562 h 4144891"/>
              <a:gd name="connsiteX45" fmla="*/ 5977141 w 6780315"/>
              <a:gd name="connsiteY45" fmla="*/ 0 h 4144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780315" h="4144891">
                <a:moveTo>
                  <a:pt x="6764078" y="1310167"/>
                </a:moveTo>
                <a:lnTo>
                  <a:pt x="6764078" y="3361972"/>
                </a:lnTo>
                <a:cubicBezTo>
                  <a:pt x="6764078" y="3577627"/>
                  <a:pt x="6682505" y="3774347"/>
                  <a:pt x="6534387" y="3915971"/>
                </a:cubicBezTo>
                <a:cubicBezTo>
                  <a:pt x="6377848" y="4065685"/>
                  <a:pt x="6158229" y="4144836"/>
                  <a:pt x="5907237" y="4144836"/>
                </a:cubicBezTo>
                <a:cubicBezTo>
                  <a:pt x="5656245" y="4144836"/>
                  <a:pt x="5440315" y="4065685"/>
                  <a:pt x="5282785" y="3915916"/>
                </a:cubicBezTo>
                <a:cubicBezTo>
                  <a:pt x="5132904" y="3773467"/>
                  <a:pt x="5050397" y="3576746"/>
                  <a:pt x="5050397" y="3361972"/>
                </a:cubicBezTo>
                <a:lnTo>
                  <a:pt x="5050397" y="3029297"/>
                </a:lnTo>
                <a:lnTo>
                  <a:pt x="5143473" y="2937542"/>
                </a:lnTo>
                <a:lnTo>
                  <a:pt x="5145564" y="2935505"/>
                </a:lnTo>
                <a:lnTo>
                  <a:pt x="5145564" y="2935450"/>
                </a:lnTo>
                <a:lnTo>
                  <a:pt x="6640398" y="1461368"/>
                </a:lnTo>
                <a:cubicBezTo>
                  <a:pt x="6687185" y="1415242"/>
                  <a:pt x="6728411" y="1364439"/>
                  <a:pt x="6764078" y="1310167"/>
                </a:cubicBezTo>
                <a:close/>
                <a:moveTo>
                  <a:pt x="2442061" y="591427"/>
                </a:moveTo>
                <a:cubicBezTo>
                  <a:pt x="2426704" y="658799"/>
                  <a:pt x="2418613" y="728042"/>
                  <a:pt x="2418613" y="798220"/>
                </a:cubicBezTo>
                <a:lnTo>
                  <a:pt x="2418613" y="2917121"/>
                </a:lnTo>
                <a:lnTo>
                  <a:pt x="1402756" y="3918999"/>
                </a:lnTo>
                <a:cubicBezTo>
                  <a:pt x="1255077" y="4064640"/>
                  <a:pt x="1051752" y="4144836"/>
                  <a:pt x="852169" y="4144836"/>
                </a:cubicBezTo>
                <a:cubicBezTo>
                  <a:pt x="652586" y="4144836"/>
                  <a:pt x="421794" y="4041522"/>
                  <a:pt x="264154" y="3881680"/>
                </a:cubicBezTo>
                <a:cubicBezTo>
                  <a:pt x="111743" y="3727122"/>
                  <a:pt x="18776" y="3534364"/>
                  <a:pt x="2484" y="3338910"/>
                </a:cubicBezTo>
                <a:cubicBezTo>
                  <a:pt x="-14469" y="3135364"/>
                  <a:pt x="55765" y="2944808"/>
                  <a:pt x="200305" y="2802249"/>
                </a:cubicBezTo>
                <a:close/>
                <a:moveTo>
                  <a:pt x="5977141" y="0"/>
                </a:moveTo>
                <a:cubicBezTo>
                  <a:pt x="6072474" y="0"/>
                  <a:pt x="6177715" y="18219"/>
                  <a:pt x="6291542" y="64014"/>
                </a:cubicBezTo>
                <a:lnTo>
                  <a:pt x="6291597" y="64124"/>
                </a:lnTo>
                <a:cubicBezTo>
                  <a:pt x="6589265" y="183896"/>
                  <a:pt x="6780315" y="477436"/>
                  <a:pt x="6780315" y="798331"/>
                </a:cubicBezTo>
                <a:lnTo>
                  <a:pt x="6780315" y="852713"/>
                </a:lnTo>
                <a:cubicBezTo>
                  <a:pt x="6777784" y="889976"/>
                  <a:pt x="6771894" y="927019"/>
                  <a:pt x="6764133" y="963732"/>
                </a:cubicBezTo>
                <a:cubicBezTo>
                  <a:pt x="6732979" y="1111080"/>
                  <a:pt x="6660543" y="1251328"/>
                  <a:pt x="6545286" y="1364989"/>
                </a:cubicBezTo>
                <a:lnTo>
                  <a:pt x="5050452" y="2839073"/>
                </a:lnTo>
                <a:lnTo>
                  <a:pt x="5048360" y="2841109"/>
                </a:lnTo>
                <a:lnTo>
                  <a:pt x="5048360" y="2839128"/>
                </a:lnTo>
                <a:lnTo>
                  <a:pt x="3958471" y="3913880"/>
                </a:lnTo>
                <a:cubicBezTo>
                  <a:pt x="3866936" y="4004149"/>
                  <a:pt x="3673298" y="4144891"/>
                  <a:pt x="3412399" y="4144891"/>
                </a:cubicBezTo>
                <a:cubicBezTo>
                  <a:pt x="3267968" y="4144891"/>
                  <a:pt x="3102841" y="4101683"/>
                  <a:pt x="2923019" y="3982903"/>
                </a:cubicBezTo>
                <a:cubicBezTo>
                  <a:pt x="2701309" y="3841665"/>
                  <a:pt x="2554126" y="3593810"/>
                  <a:pt x="2554126" y="3311444"/>
                </a:cubicBezTo>
                <a:lnTo>
                  <a:pt x="2554126" y="798276"/>
                </a:lnTo>
                <a:cubicBezTo>
                  <a:pt x="2554126" y="628856"/>
                  <a:pt x="2608068" y="467858"/>
                  <a:pt x="2703400" y="333721"/>
                </a:cubicBezTo>
                <a:cubicBezTo>
                  <a:pt x="2739508" y="282971"/>
                  <a:pt x="2781340" y="235966"/>
                  <a:pt x="2828676" y="193969"/>
                </a:cubicBezTo>
                <a:cubicBezTo>
                  <a:pt x="2830107" y="192647"/>
                  <a:pt x="2831649" y="191491"/>
                  <a:pt x="2833080" y="190226"/>
                </a:cubicBezTo>
                <a:cubicBezTo>
                  <a:pt x="2985932" y="67262"/>
                  <a:pt x="3207532" y="2422"/>
                  <a:pt x="3419884" y="2422"/>
                </a:cubicBezTo>
                <a:cubicBezTo>
                  <a:pt x="3538280" y="2422"/>
                  <a:pt x="3653868" y="22567"/>
                  <a:pt x="3753054" y="64069"/>
                </a:cubicBezTo>
                <a:cubicBezTo>
                  <a:pt x="4049070" y="187914"/>
                  <a:pt x="4241773" y="477381"/>
                  <a:pt x="4241773" y="798276"/>
                </a:cubicBezTo>
                <a:lnTo>
                  <a:pt x="4241773" y="1399006"/>
                </a:lnTo>
                <a:lnTo>
                  <a:pt x="4339307" y="1302847"/>
                </a:lnTo>
                <a:cubicBezTo>
                  <a:pt x="4341895" y="1300975"/>
                  <a:pt x="4344592" y="1299599"/>
                  <a:pt x="4346959" y="1297288"/>
                </a:cubicBezTo>
                <a:lnTo>
                  <a:pt x="5427655" y="231562"/>
                </a:lnTo>
                <a:cubicBezTo>
                  <a:pt x="5506530" y="153788"/>
                  <a:pt x="5700114" y="0"/>
                  <a:pt x="597714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5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pic>
        <p:nvPicPr>
          <p:cNvPr id="3" name="Picture 2" descr="A blue and white logo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980D079B-ACB8-0DF4-0441-EAE8D2C117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2908" y="4129549"/>
            <a:ext cx="2031485" cy="101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39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34">
          <p15:clr>
            <a:srgbClr val="FBAE40"/>
          </p15:clr>
        </p15:guide>
        <p15:guide id="2" pos="7446">
          <p15:clr>
            <a:srgbClr val="FBAE40"/>
          </p15:clr>
        </p15:guide>
        <p15:guide id="3" orient="horz" pos="232">
          <p15:clr>
            <a:srgbClr val="FBAE40"/>
          </p15:clr>
        </p15:guide>
        <p15:guide id="4" orient="horz" pos="408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8C31455-D793-DB5B-8603-96ED34232C73}"/>
              </a:ext>
            </a:extLst>
          </p:cNvPr>
          <p:cNvSpPr/>
          <p:nvPr userDrawn="1"/>
        </p:nvSpPr>
        <p:spPr>
          <a:xfrm>
            <a:off x="2372281" y="222140"/>
            <a:ext cx="7687100" cy="4699220"/>
          </a:xfrm>
          <a:custGeom>
            <a:avLst/>
            <a:gdLst>
              <a:gd name="connsiteX0" fmla="*/ 11192213 w 11219080"/>
              <a:gd name="connsiteY0" fmla="*/ 2167874 h 6858364"/>
              <a:gd name="connsiteX1" fmla="*/ 11192213 w 11219080"/>
              <a:gd name="connsiteY1" fmla="*/ 5562903 h 6858364"/>
              <a:gd name="connsiteX2" fmla="*/ 10812154 w 11219080"/>
              <a:gd name="connsiteY2" fmla="*/ 6479580 h 6858364"/>
              <a:gd name="connsiteX3" fmla="*/ 9774437 w 11219080"/>
              <a:gd name="connsiteY3" fmla="*/ 6858273 h 6858364"/>
              <a:gd name="connsiteX4" fmla="*/ 8741184 w 11219080"/>
              <a:gd name="connsiteY4" fmla="*/ 6479489 h 6858364"/>
              <a:gd name="connsiteX5" fmla="*/ 8356662 w 11219080"/>
              <a:gd name="connsiteY5" fmla="*/ 5562903 h 6858364"/>
              <a:gd name="connsiteX6" fmla="*/ 8356662 w 11219080"/>
              <a:gd name="connsiteY6" fmla="*/ 5012441 h 6858364"/>
              <a:gd name="connsiteX7" fmla="*/ 8510671 w 11219080"/>
              <a:gd name="connsiteY7" fmla="*/ 4860618 h 6858364"/>
              <a:gd name="connsiteX8" fmla="*/ 8514132 w 11219080"/>
              <a:gd name="connsiteY8" fmla="*/ 4857248 h 6858364"/>
              <a:gd name="connsiteX9" fmla="*/ 8514132 w 11219080"/>
              <a:gd name="connsiteY9" fmla="*/ 4857157 h 6858364"/>
              <a:gd name="connsiteX10" fmla="*/ 10987566 w 11219080"/>
              <a:gd name="connsiteY10" fmla="*/ 2418059 h 6858364"/>
              <a:gd name="connsiteX11" fmla="*/ 11192213 w 11219080"/>
              <a:gd name="connsiteY11" fmla="*/ 2167874 h 6858364"/>
              <a:gd name="connsiteX12" fmla="*/ 4040767 w 11219080"/>
              <a:gd name="connsiteY12" fmla="*/ 978608 h 6858364"/>
              <a:gd name="connsiteX13" fmla="*/ 4001969 w 11219080"/>
              <a:gd name="connsiteY13" fmla="*/ 1320779 h 6858364"/>
              <a:gd name="connsiteX14" fmla="*/ 4001969 w 11219080"/>
              <a:gd name="connsiteY14" fmla="*/ 4826829 h 6858364"/>
              <a:gd name="connsiteX15" fmla="*/ 2321076 w 11219080"/>
              <a:gd name="connsiteY15" fmla="*/ 6484590 h 6858364"/>
              <a:gd name="connsiteX16" fmla="*/ 1410045 w 11219080"/>
              <a:gd name="connsiteY16" fmla="*/ 6858273 h 6858364"/>
              <a:gd name="connsiteX17" fmla="*/ 437084 w 11219080"/>
              <a:gd name="connsiteY17" fmla="*/ 6422840 h 6858364"/>
              <a:gd name="connsiteX18" fmla="*/ 4110 w 11219080"/>
              <a:gd name="connsiteY18" fmla="*/ 5524743 h 6858364"/>
              <a:gd name="connsiteX19" fmla="*/ 331436 w 11219080"/>
              <a:gd name="connsiteY19" fmla="*/ 4636754 h 6858364"/>
              <a:gd name="connsiteX20" fmla="*/ 9890104 w 11219080"/>
              <a:gd name="connsiteY20" fmla="*/ 0 h 6858364"/>
              <a:gd name="connsiteX21" fmla="*/ 10410329 w 11219080"/>
              <a:gd name="connsiteY21" fmla="*/ 105921 h 6858364"/>
              <a:gd name="connsiteX22" fmla="*/ 10410420 w 11219080"/>
              <a:gd name="connsiteY22" fmla="*/ 106103 h 6858364"/>
              <a:gd name="connsiteX23" fmla="*/ 11219080 w 11219080"/>
              <a:gd name="connsiteY23" fmla="*/ 1320962 h 6858364"/>
              <a:gd name="connsiteX24" fmla="*/ 11219080 w 11219080"/>
              <a:gd name="connsiteY24" fmla="*/ 1410945 h 6858364"/>
              <a:gd name="connsiteX25" fmla="*/ 11192304 w 11219080"/>
              <a:gd name="connsiteY25" fmla="*/ 1594644 h 6858364"/>
              <a:gd name="connsiteX26" fmla="*/ 10830187 w 11219080"/>
              <a:gd name="connsiteY26" fmla="*/ 2258586 h 6858364"/>
              <a:gd name="connsiteX27" fmla="*/ 8356753 w 11219080"/>
              <a:gd name="connsiteY27" fmla="*/ 4697685 h 6858364"/>
              <a:gd name="connsiteX28" fmla="*/ 8353292 w 11219080"/>
              <a:gd name="connsiteY28" fmla="*/ 4701054 h 6858364"/>
              <a:gd name="connsiteX29" fmla="*/ 8353292 w 11219080"/>
              <a:gd name="connsiteY29" fmla="*/ 4697776 h 6858364"/>
              <a:gd name="connsiteX30" fmla="*/ 6549902 w 11219080"/>
              <a:gd name="connsiteY30" fmla="*/ 6476120 h 6858364"/>
              <a:gd name="connsiteX31" fmla="*/ 5646341 w 11219080"/>
              <a:gd name="connsiteY31" fmla="*/ 6858364 h 6858364"/>
              <a:gd name="connsiteX32" fmla="*/ 4836586 w 11219080"/>
              <a:gd name="connsiteY32" fmla="*/ 6590329 h 6858364"/>
              <a:gd name="connsiteX33" fmla="*/ 4226197 w 11219080"/>
              <a:gd name="connsiteY33" fmla="*/ 5479296 h 6858364"/>
              <a:gd name="connsiteX34" fmla="*/ 4226197 w 11219080"/>
              <a:gd name="connsiteY34" fmla="*/ 1320871 h 6858364"/>
              <a:gd name="connsiteX35" fmla="*/ 4473194 w 11219080"/>
              <a:gd name="connsiteY35" fmla="*/ 552192 h 6858364"/>
              <a:gd name="connsiteX36" fmla="*/ 4680482 w 11219080"/>
              <a:gd name="connsiteY36" fmla="*/ 320951 h 6858364"/>
              <a:gd name="connsiteX37" fmla="*/ 4687769 w 11219080"/>
              <a:gd name="connsiteY37" fmla="*/ 314758 h 6858364"/>
              <a:gd name="connsiteX38" fmla="*/ 5658727 w 11219080"/>
              <a:gd name="connsiteY38" fmla="*/ 4007 h 6858364"/>
              <a:gd name="connsiteX39" fmla="*/ 6210008 w 11219080"/>
              <a:gd name="connsiteY39" fmla="*/ 106012 h 6858364"/>
              <a:gd name="connsiteX40" fmla="*/ 7018669 w 11219080"/>
              <a:gd name="connsiteY40" fmla="*/ 1320871 h 6858364"/>
              <a:gd name="connsiteX41" fmla="*/ 7018669 w 11219080"/>
              <a:gd name="connsiteY41" fmla="*/ 2314871 h 6858364"/>
              <a:gd name="connsiteX42" fmla="*/ 7180055 w 11219080"/>
              <a:gd name="connsiteY42" fmla="*/ 2155762 h 6858364"/>
              <a:gd name="connsiteX43" fmla="*/ 7192715 w 11219080"/>
              <a:gd name="connsiteY43" fmla="*/ 2146563 h 6858364"/>
              <a:gd name="connsiteX44" fmla="*/ 8980895 w 11219080"/>
              <a:gd name="connsiteY44" fmla="*/ 383155 h 6858364"/>
              <a:gd name="connsiteX45" fmla="*/ 9890104 w 11219080"/>
              <a:gd name="connsiteY45" fmla="*/ 0 h 6858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219080" h="6858364">
                <a:moveTo>
                  <a:pt x="11192213" y="2167874"/>
                </a:moveTo>
                <a:lnTo>
                  <a:pt x="11192213" y="5562903"/>
                </a:lnTo>
                <a:cubicBezTo>
                  <a:pt x="11192213" y="5919737"/>
                  <a:pt x="11057238" y="6245242"/>
                  <a:pt x="10812154" y="6479580"/>
                </a:cubicBezTo>
                <a:cubicBezTo>
                  <a:pt x="10553135" y="6727306"/>
                  <a:pt x="10189742" y="6858273"/>
                  <a:pt x="9774437" y="6858273"/>
                </a:cubicBezTo>
                <a:cubicBezTo>
                  <a:pt x="9359132" y="6858273"/>
                  <a:pt x="9001843" y="6727306"/>
                  <a:pt x="8741184" y="6479489"/>
                </a:cubicBezTo>
                <a:cubicBezTo>
                  <a:pt x="8493184" y="6243785"/>
                  <a:pt x="8356662" y="5918280"/>
                  <a:pt x="8356662" y="5562903"/>
                </a:cubicBezTo>
                <a:lnTo>
                  <a:pt x="8356662" y="5012441"/>
                </a:lnTo>
                <a:lnTo>
                  <a:pt x="8510671" y="4860618"/>
                </a:lnTo>
                <a:lnTo>
                  <a:pt x="8514132" y="4857248"/>
                </a:lnTo>
                <a:lnTo>
                  <a:pt x="8514132" y="4857157"/>
                </a:lnTo>
                <a:lnTo>
                  <a:pt x="10987566" y="2418059"/>
                </a:lnTo>
                <a:cubicBezTo>
                  <a:pt x="11064981" y="2341737"/>
                  <a:pt x="11133196" y="2257675"/>
                  <a:pt x="11192213" y="2167874"/>
                </a:cubicBezTo>
                <a:close/>
                <a:moveTo>
                  <a:pt x="4040767" y="978608"/>
                </a:moveTo>
                <a:cubicBezTo>
                  <a:pt x="4015357" y="1090085"/>
                  <a:pt x="4001969" y="1204658"/>
                  <a:pt x="4001969" y="1320779"/>
                </a:cubicBezTo>
                <a:lnTo>
                  <a:pt x="4001969" y="4826829"/>
                </a:lnTo>
                <a:lnTo>
                  <a:pt x="2321076" y="6484590"/>
                </a:lnTo>
                <a:cubicBezTo>
                  <a:pt x="2076719" y="6725576"/>
                  <a:pt x="1740286" y="6858273"/>
                  <a:pt x="1410045" y="6858273"/>
                </a:cubicBezTo>
                <a:cubicBezTo>
                  <a:pt x="1079805" y="6858273"/>
                  <a:pt x="697924" y="6687324"/>
                  <a:pt x="437084" y="6422840"/>
                </a:cubicBezTo>
                <a:cubicBezTo>
                  <a:pt x="184895" y="6167100"/>
                  <a:pt x="31068" y="5848153"/>
                  <a:pt x="4110" y="5524743"/>
                </a:cubicBezTo>
                <a:cubicBezTo>
                  <a:pt x="-23942" y="5187945"/>
                  <a:pt x="92271" y="4872641"/>
                  <a:pt x="331436" y="4636754"/>
                </a:cubicBezTo>
                <a:close/>
                <a:moveTo>
                  <a:pt x="9890104" y="0"/>
                </a:moveTo>
                <a:cubicBezTo>
                  <a:pt x="10047847" y="0"/>
                  <a:pt x="10221984" y="30146"/>
                  <a:pt x="10410329" y="105921"/>
                </a:cubicBezTo>
                <a:lnTo>
                  <a:pt x="10410420" y="106103"/>
                </a:lnTo>
                <a:cubicBezTo>
                  <a:pt x="10902957" y="304284"/>
                  <a:pt x="11219080" y="789991"/>
                  <a:pt x="11219080" y="1320962"/>
                </a:cubicBezTo>
                <a:lnTo>
                  <a:pt x="11219080" y="1410945"/>
                </a:lnTo>
                <a:cubicBezTo>
                  <a:pt x="11214891" y="1472603"/>
                  <a:pt x="11205146" y="1533897"/>
                  <a:pt x="11192304" y="1594644"/>
                </a:cubicBezTo>
                <a:cubicBezTo>
                  <a:pt x="11140755" y="1838454"/>
                  <a:pt x="11020899" y="2070515"/>
                  <a:pt x="10830187" y="2258586"/>
                </a:cubicBezTo>
                <a:lnTo>
                  <a:pt x="8356753" y="4697685"/>
                </a:lnTo>
                <a:lnTo>
                  <a:pt x="8353292" y="4701054"/>
                </a:lnTo>
                <a:lnTo>
                  <a:pt x="8353292" y="4697776"/>
                </a:lnTo>
                <a:lnTo>
                  <a:pt x="6549902" y="6476120"/>
                </a:lnTo>
                <a:cubicBezTo>
                  <a:pt x="6398443" y="6625484"/>
                  <a:pt x="6078039" y="6858364"/>
                  <a:pt x="5646341" y="6858364"/>
                </a:cubicBezTo>
                <a:cubicBezTo>
                  <a:pt x="5407358" y="6858364"/>
                  <a:pt x="5134130" y="6786870"/>
                  <a:pt x="4836586" y="6590329"/>
                </a:cubicBezTo>
                <a:cubicBezTo>
                  <a:pt x="4469733" y="6356629"/>
                  <a:pt x="4226197" y="5946515"/>
                  <a:pt x="4226197" y="5479296"/>
                </a:cubicBezTo>
                <a:lnTo>
                  <a:pt x="4226197" y="1320871"/>
                </a:lnTo>
                <a:cubicBezTo>
                  <a:pt x="4226197" y="1040540"/>
                  <a:pt x="4315451" y="774143"/>
                  <a:pt x="4473194" y="552192"/>
                </a:cubicBezTo>
                <a:cubicBezTo>
                  <a:pt x="4532940" y="468220"/>
                  <a:pt x="4602157" y="390442"/>
                  <a:pt x="4680482" y="320951"/>
                </a:cubicBezTo>
                <a:cubicBezTo>
                  <a:pt x="4682850" y="318765"/>
                  <a:pt x="4685401" y="316852"/>
                  <a:pt x="4687769" y="314758"/>
                </a:cubicBezTo>
                <a:cubicBezTo>
                  <a:pt x="4940686" y="111295"/>
                  <a:pt x="5307357" y="4007"/>
                  <a:pt x="5658727" y="4007"/>
                </a:cubicBezTo>
                <a:cubicBezTo>
                  <a:pt x="5854631" y="4007"/>
                  <a:pt x="6045890" y="37341"/>
                  <a:pt x="6210008" y="106012"/>
                </a:cubicBezTo>
                <a:cubicBezTo>
                  <a:pt x="6699813" y="310932"/>
                  <a:pt x="7018669" y="789900"/>
                  <a:pt x="7018669" y="1320871"/>
                </a:cubicBezTo>
                <a:lnTo>
                  <a:pt x="7018669" y="2314871"/>
                </a:lnTo>
                <a:lnTo>
                  <a:pt x="7180055" y="2155762"/>
                </a:lnTo>
                <a:cubicBezTo>
                  <a:pt x="7184336" y="2152665"/>
                  <a:pt x="7188799" y="2150388"/>
                  <a:pt x="7192715" y="2146563"/>
                </a:cubicBezTo>
                <a:lnTo>
                  <a:pt x="8980895" y="383155"/>
                </a:lnTo>
                <a:cubicBezTo>
                  <a:pt x="9111406" y="254466"/>
                  <a:pt x="9431720" y="0"/>
                  <a:pt x="9890104" y="0"/>
                </a:cubicBezTo>
                <a:close/>
              </a:path>
            </a:pathLst>
          </a:custGeom>
          <a:solidFill>
            <a:schemeClr val="tx2"/>
          </a:solidFill>
          <a:ln w="9108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1350"/>
          </a:p>
        </p:txBody>
      </p:sp>
      <p:pic>
        <p:nvPicPr>
          <p:cNvPr id="4" name="Picture 3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8AC4E8FD-CDDF-2FCC-5253-D27936CDE3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285" y="44245"/>
            <a:ext cx="2031485" cy="1013951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506533-4269-A236-DD68-CB04E5A0F1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7447" y="1695425"/>
            <a:ext cx="3857625" cy="9140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E1183C0-3E83-E44D-5186-19AC53E62B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7447" y="2727009"/>
            <a:ext cx="3857625" cy="2077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15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98C31455-D793-DB5B-8603-96ED34232C73}"/>
              </a:ext>
            </a:extLst>
          </p:cNvPr>
          <p:cNvSpPr/>
          <p:nvPr userDrawn="1"/>
        </p:nvSpPr>
        <p:spPr>
          <a:xfrm>
            <a:off x="2372281" y="222140"/>
            <a:ext cx="7687100" cy="4699220"/>
          </a:xfrm>
          <a:custGeom>
            <a:avLst/>
            <a:gdLst>
              <a:gd name="connsiteX0" fmla="*/ 11192213 w 11219080"/>
              <a:gd name="connsiteY0" fmla="*/ 2167874 h 6858364"/>
              <a:gd name="connsiteX1" fmla="*/ 11192213 w 11219080"/>
              <a:gd name="connsiteY1" fmla="*/ 5562903 h 6858364"/>
              <a:gd name="connsiteX2" fmla="*/ 10812154 w 11219080"/>
              <a:gd name="connsiteY2" fmla="*/ 6479580 h 6858364"/>
              <a:gd name="connsiteX3" fmla="*/ 9774437 w 11219080"/>
              <a:gd name="connsiteY3" fmla="*/ 6858273 h 6858364"/>
              <a:gd name="connsiteX4" fmla="*/ 8741184 w 11219080"/>
              <a:gd name="connsiteY4" fmla="*/ 6479489 h 6858364"/>
              <a:gd name="connsiteX5" fmla="*/ 8356662 w 11219080"/>
              <a:gd name="connsiteY5" fmla="*/ 5562903 h 6858364"/>
              <a:gd name="connsiteX6" fmla="*/ 8356662 w 11219080"/>
              <a:gd name="connsiteY6" fmla="*/ 5012441 h 6858364"/>
              <a:gd name="connsiteX7" fmla="*/ 8510671 w 11219080"/>
              <a:gd name="connsiteY7" fmla="*/ 4860618 h 6858364"/>
              <a:gd name="connsiteX8" fmla="*/ 8514132 w 11219080"/>
              <a:gd name="connsiteY8" fmla="*/ 4857248 h 6858364"/>
              <a:gd name="connsiteX9" fmla="*/ 8514132 w 11219080"/>
              <a:gd name="connsiteY9" fmla="*/ 4857157 h 6858364"/>
              <a:gd name="connsiteX10" fmla="*/ 10987566 w 11219080"/>
              <a:gd name="connsiteY10" fmla="*/ 2418059 h 6858364"/>
              <a:gd name="connsiteX11" fmla="*/ 11192213 w 11219080"/>
              <a:gd name="connsiteY11" fmla="*/ 2167874 h 6858364"/>
              <a:gd name="connsiteX12" fmla="*/ 4040767 w 11219080"/>
              <a:gd name="connsiteY12" fmla="*/ 978608 h 6858364"/>
              <a:gd name="connsiteX13" fmla="*/ 4001969 w 11219080"/>
              <a:gd name="connsiteY13" fmla="*/ 1320779 h 6858364"/>
              <a:gd name="connsiteX14" fmla="*/ 4001969 w 11219080"/>
              <a:gd name="connsiteY14" fmla="*/ 4826829 h 6858364"/>
              <a:gd name="connsiteX15" fmla="*/ 2321076 w 11219080"/>
              <a:gd name="connsiteY15" fmla="*/ 6484590 h 6858364"/>
              <a:gd name="connsiteX16" fmla="*/ 1410045 w 11219080"/>
              <a:gd name="connsiteY16" fmla="*/ 6858273 h 6858364"/>
              <a:gd name="connsiteX17" fmla="*/ 437084 w 11219080"/>
              <a:gd name="connsiteY17" fmla="*/ 6422840 h 6858364"/>
              <a:gd name="connsiteX18" fmla="*/ 4110 w 11219080"/>
              <a:gd name="connsiteY18" fmla="*/ 5524743 h 6858364"/>
              <a:gd name="connsiteX19" fmla="*/ 331436 w 11219080"/>
              <a:gd name="connsiteY19" fmla="*/ 4636754 h 6858364"/>
              <a:gd name="connsiteX20" fmla="*/ 9890104 w 11219080"/>
              <a:gd name="connsiteY20" fmla="*/ 0 h 6858364"/>
              <a:gd name="connsiteX21" fmla="*/ 10410329 w 11219080"/>
              <a:gd name="connsiteY21" fmla="*/ 105921 h 6858364"/>
              <a:gd name="connsiteX22" fmla="*/ 10410420 w 11219080"/>
              <a:gd name="connsiteY22" fmla="*/ 106103 h 6858364"/>
              <a:gd name="connsiteX23" fmla="*/ 11219080 w 11219080"/>
              <a:gd name="connsiteY23" fmla="*/ 1320962 h 6858364"/>
              <a:gd name="connsiteX24" fmla="*/ 11219080 w 11219080"/>
              <a:gd name="connsiteY24" fmla="*/ 1410945 h 6858364"/>
              <a:gd name="connsiteX25" fmla="*/ 11192304 w 11219080"/>
              <a:gd name="connsiteY25" fmla="*/ 1594644 h 6858364"/>
              <a:gd name="connsiteX26" fmla="*/ 10830187 w 11219080"/>
              <a:gd name="connsiteY26" fmla="*/ 2258586 h 6858364"/>
              <a:gd name="connsiteX27" fmla="*/ 8356753 w 11219080"/>
              <a:gd name="connsiteY27" fmla="*/ 4697685 h 6858364"/>
              <a:gd name="connsiteX28" fmla="*/ 8353292 w 11219080"/>
              <a:gd name="connsiteY28" fmla="*/ 4701054 h 6858364"/>
              <a:gd name="connsiteX29" fmla="*/ 8353292 w 11219080"/>
              <a:gd name="connsiteY29" fmla="*/ 4697776 h 6858364"/>
              <a:gd name="connsiteX30" fmla="*/ 6549902 w 11219080"/>
              <a:gd name="connsiteY30" fmla="*/ 6476120 h 6858364"/>
              <a:gd name="connsiteX31" fmla="*/ 5646341 w 11219080"/>
              <a:gd name="connsiteY31" fmla="*/ 6858364 h 6858364"/>
              <a:gd name="connsiteX32" fmla="*/ 4836586 w 11219080"/>
              <a:gd name="connsiteY32" fmla="*/ 6590329 h 6858364"/>
              <a:gd name="connsiteX33" fmla="*/ 4226197 w 11219080"/>
              <a:gd name="connsiteY33" fmla="*/ 5479296 h 6858364"/>
              <a:gd name="connsiteX34" fmla="*/ 4226197 w 11219080"/>
              <a:gd name="connsiteY34" fmla="*/ 1320871 h 6858364"/>
              <a:gd name="connsiteX35" fmla="*/ 4473194 w 11219080"/>
              <a:gd name="connsiteY35" fmla="*/ 552192 h 6858364"/>
              <a:gd name="connsiteX36" fmla="*/ 4680482 w 11219080"/>
              <a:gd name="connsiteY36" fmla="*/ 320951 h 6858364"/>
              <a:gd name="connsiteX37" fmla="*/ 4687769 w 11219080"/>
              <a:gd name="connsiteY37" fmla="*/ 314758 h 6858364"/>
              <a:gd name="connsiteX38" fmla="*/ 5658727 w 11219080"/>
              <a:gd name="connsiteY38" fmla="*/ 4007 h 6858364"/>
              <a:gd name="connsiteX39" fmla="*/ 6210008 w 11219080"/>
              <a:gd name="connsiteY39" fmla="*/ 106012 h 6858364"/>
              <a:gd name="connsiteX40" fmla="*/ 7018669 w 11219080"/>
              <a:gd name="connsiteY40" fmla="*/ 1320871 h 6858364"/>
              <a:gd name="connsiteX41" fmla="*/ 7018669 w 11219080"/>
              <a:gd name="connsiteY41" fmla="*/ 2314871 h 6858364"/>
              <a:gd name="connsiteX42" fmla="*/ 7180055 w 11219080"/>
              <a:gd name="connsiteY42" fmla="*/ 2155762 h 6858364"/>
              <a:gd name="connsiteX43" fmla="*/ 7192715 w 11219080"/>
              <a:gd name="connsiteY43" fmla="*/ 2146563 h 6858364"/>
              <a:gd name="connsiteX44" fmla="*/ 8980895 w 11219080"/>
              <a:gd name="connsiteY44" fmla="*/ 383155 h 6858364"/>
              <a:gd name="connsiteX45" fmla="*/ 9890104 w 11219080"/>
              <a:gd name="connsiteY45" fmla="*/ 0 h 6858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219080" h="6858364">
                <a:moveTo>
                  <a:pt x="11192213" y="2167874"/>
                </a:moveTo>
                <a:lnTo>
                  <a:pt x="11192213" y="5562903"/>
                </a:lnTo>
                <a:cubicBezTo>
                  <a:pt x="11192213" y="5919737"/>
                  <a:pt x="11057238" y="6245242"/>
                  <a:pt x="10812154" y="6479580"/>
                </a:cubicBezTo>
                <a:cubicBezTo>
                  <a:pt x="10553135" y="6727306"/>
                  <a:pt x="10189742" y="6858273"/>
                  <a:pt x="9774437" y="6858273"/>
                </a:cubicBezTo>
                <a:cubicBezTo>
                  <a:pt x="9359132" y="6858273"/>
                  <a:pt x="9001843" y="6727306"/>
                  <a:pt x="8741184" y="6479489"/>
                </a:cubicBezTo>
                <a:cubicBezTo>
                  <a:pt x="8493184" y="6243785"/>
                  <a:pt x="8356662" y="5918280"/>
                  <a:pt x="8356662" y="5562903"/>
                </a:cubicBezTo>
                <a:lnTo>
                  <a:pt x="8356662" y="5012441"/>
                </a:lnTo>
                <a:lnTo>
                  <a:pt x="8510671" y="4860618"/>
                </a:lnTo>
                <a:lnTo>
                  <a:pt x="8514132" y="4857248"/>
                </a:lnTo>
                <a:lnTo>
                  <a:pt x="8514132" y="4857157"/>
                </a:lnTo>
                <a:lnTo>
                  <a:pt x="10987566" y="2418059"/>
                </a:lnTo>
                <a:cubicBezTo>
                  <a:pt x="11064981" y="2341737"/>
                  <a:pt x="11133196" y="2257675"/>
                  <a:pt x="11192213" y="2167874"/>
                </a:cubicBezTo>
                <a:close/>
                <a:moveTo>
                  <a:pt x="4040767" y="978608"/>
                </a:moveTo>
                <a:cubicBezTo>
                  <a:pt x="4015357" y="1090085"/>
                  <a:pt x="4001969" y="1204658"/>
                  <a:pt x="4001969" y="1320779"/>
                </a:cubicBezTo>
                <a:lnTo>
                  <a:pt x="4001969" y="4826829"/>
                </a:lnTo>
                <a:lnTo>
                  <a:pt x="2321076" y="6484590"/>
                </a:lnTo>
                <a:cubicBezTo>
                  <a:pt x="2076719" y="6725576"/>
                  <a:pt x="1740286" y="6858273"/>
                  <a:pt x="1410045" y="6858273"/>
                </a:cubicBezTo>
                <a:cubicBezTo>
                  <a:pt x="1079805" y="6858273"/>
                  <a:pt x="697924" y="6687324"/>
                  <a:pt x="437084" y="6422840"/>
                </a:cubicBezTo>
                <a:cubicBezTo>
                  <a:pt x="184895" y="6167100"/>
                  <a:pt x="31068" y="5848153"/>
                  <a:pt x="4110" y="5524743"/>
                </a:cubicBezTo>
                <a:cubicBezTo>
                  <a:pt x="-23942" y="5187945"/>
                  <a:pt x="92271" y="4872641"/>
                  <a:pt x="331436" y="4636754"/>
                </a:cubicBezTo>
                <a:close/>
                <a:moveTo>
                  <a:pt x="9890104" y="0"/>
                </a:moveTo>
                <a:cubicBezTo>
                  <a:pt x="10047847" y="0"/>
                  <a:pt x="10221984" y="30146"/>
                  <a:pt x="10410329" y="105921"/>
                </a:cubicBezTo>
                <a:lnTo>
                  <a:pt x="10410420" y="106103"/>
                </a:lnTo>
                <a:cubicBezTo>
                  <a:pt x="10902957" y="304284"/>
                  <a:pt x="11219080" y="789991"/>
                  <a:pt x="11219080" y="1320962"/>
                </a:cubicBezTo>
                <a:lnTo>
                  <a:pt x="11219080" y="1410945"/>
                </a:lnTo>
                <a:cubicBezTo>
                  <a:pt x="11214891" y="1472603"/>
                  <a:pt x="11205146" y="1533897"/>
                  <a:pt x="11192304" y="1594644"/>
                </a:cubicBezTo>
                <a:cubicBezTo>
                  <a:pt x="11140755" y="1838454"/>
                  <a:pt x="11020899" y="2070515"/>
                  <a:pt x="10830187" y="2258586"/>
                </a:cubicBezTo>
                <a:lnTo>
                  <a:pt x="8356753" y="4697685"/>
                </a:lnTo>
                <a:lnTo>
                  <a:pt x="8353292" y="4701054"/>
                </a:lnTo>
                <a:lnTo>
                  <a:pt x="8353292" y="4697776"/>
                </a:lnTo>
                <a:lnTo>
                  <a:pt x="6549902" y="6476120"/>
                </a:lnTo>
                <a:cubicBezTo>
                  <a:pt x="6398443" y="6625484"/>
                  <a:pt x="6078039" y="6858364"/>
                  <a:pt x="5646341" y="6858364"/>
                </a:cubicBezTo>
                <a:cubicBezTo>
                  <a:pt x="5407358" y="6858364"/>
                  <a:pt x="5134130" y="6786870"/>
                  <a:pt x="4836586" y="6590329"/>
                </a:cubicBezTo>
                <a:cubicBezTo>
                  <a:pt x="4469733" y="6356629"/>
                  <a:pt x="4226197" y="5946515"/>
                  <a:pt x="4226197" y="5479296"/>
                </a:cubicBezTo>
                <a:lnTo>
                  <a:pt x="4226197" y="1320871"/>
                </a:lnTo>
                <a:cubicBezTo>
                  <a:pt x="4226197" y="1040540"/>
                  <a:pt x="4315451" y="774143"/>
                  <a:pt x="4473194" y="552192"/>
                </a:cubicBezTo>
                <a:cubicBezTo>
                  <a:pt x="4532940" y="468220"/>
                  <a:pt x="4602157" y="390442"/>
                  <a:pt x="4680482" y="320951"/>
                </a:cubicBezTo>
                <a:cubicBezTo>
                  <a:pt x="4682850" y="318765"/>
                  <a:pt x="4685401" y="316852"/>
                  <a:pt x="4687769" y="314758"/>
                </a:cubicBezTo>
                <a:cubicBezTo>
                  <a:pt x="4940686" y="111295"/>
                  <a:pt x="5307357" y="4007"/>
                  <a:pt x="5658727" y="4007"/>
                </a:cubicBezTo>
                <a:cubicBezTo>
                  <a:pt x="5854631" y="4007"/>
                  <a:pt x="6045890" y="37341"/>
                  <a:pt x="6210008" y="106012"/>
                </a:cubicBezTo>
                <a:cubicBezTo>
                  <a:pt x="6699813" y="310932"/>
                  <a:pt x="7018669" y="789900"/>
                  <a:pt x="7018669" y="1320871"/>
                </a:cubicBezTo>
                <a:lnTo>
                  <a:pt x="7018669" y="2314871"/>
                </a:lnTo>
                <a:lnTo>
                  <a:pt x="7180055" y="2155762"/>
                </a:lnTo>
                <a:cubicBezTo>
                  <a:pt x="7184336" y="2152665"/>
                  <a:pt x="7188799" y="2150388"/>
                  <a:pt x="7192715" y="2146563"/>
                </a:cubicBezTo>
                <a:lnTo>
                  <a:pt x="8980895" y="383155"/>
                </a:lnTo>
                <a:cubicBezTo>
                  <a:pt x="9111406" y="254466"/>
                  <a:pt x="9431720" y="0"/>
                  <a:pt x="989010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108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135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506533-4269-A236-DD68-CB04E5A0F1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7447" y="1695425"/>
            <a:ext cx="3857625" cy="9140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tx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E1183C0-3E83-E44D-5186-19AC53E62B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7447" y="2727009"/>
            <a:ext cx="3857625" cy="2077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Picture 1" descr="A blue and white logo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F63C8D1C-BBBF-A9A7-E921-40B2E00995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9285" y="44244"/>
            <a:ext cx="2031485" cy="101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5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7A263E-70E1-2B4B-DAB5-BC7367EFF8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62767" y="1281984"/>
            <a:ext cx="3794281" cy="45704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tx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Sommaire</a:t>
            </a:r>
            <a:endParaRPr lang="en-US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786FADE-A92F-18CD-8BF6-CF5E0D9A02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62767" y="2100661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9277F87-6039-54D6-49D3-DA1F1FAC90D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41530" y="2100661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771A3E7-1FCA-1FF5-6E4F-9493BB6D4CAE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4D4F23D-AFCD-B44C-7886-D1CBC3C2C1BF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rgbClr val="005CA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C932CDD-2E0A-CA25-347C-7FE811D52CC9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rgbClr val="005CA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70ACB1E-8B2B-BF67-43B8-535EB0C428E2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rgbClr val="00B3D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</p:grp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F5EFE89F-C9A1-849C-B735-AFE71665E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61F3E1B-62C6-1E84-8D2B-6B1B0288D2E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38136" y="0"/>
            <a:ext cx="4910903" cy="5143500"/>
          </a:xfrm>
          <a:custGeom>
            <a:avLst/>
            <a:gdLst>
              <a:gd name="connsiteX0" fmla="*/ 0 w 6547871"/>
              <a:gd name="connsiteY0" fmla="*/ 0 h 6858000"/>
              <a:gd name="connsiteX1" fmla="*/ 5504098 w 6547871"/>
              <a:gd name="connsiteY1" fmla="*/ 0 h 6858000"/>
              <a:gd name="connsiteX2" fmla="*/ 5654781 w 6547871"/>
              <a:gd name="connsiteY2" fmla="*/ 167298 h 6858000"/>
              <a:gd name="connsiteX3" fmla="*/ 5387216 w 6547871"/>
              <a:gd name="connsiteY3" fmla="*/ 5548346 h 6858000"/>
              <a:gd name="connsiteX4" fmla="*/ 4056159 w 6547871"/>
              <a:gd name="connsiteY4" fmla="*/ 6858000 h 6858000"/>
              <a:gd name="connsiteX5" fmla="*/ 0 w 6547871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47871" h="6858000">
                <a:moveTo>
                  <a:pt x="0" y="0"/>
                </a:moveTo>
                <a:lnTo>
                  <a:pt x="5504098" y="0"/>
                </a:lnTo>
                <a:lnTo>
                  <a:pt x="5654781" y="167298"/>
                </a:lnTo>
                <a:cubicBezTo>
                  <a:pt x="6881709" y="1639136"/>
                  <a:pt x="6892577" y="4039351"/>
                  <a:pt x="5387216" y="5548346"/>
                </a:cubicBezTo>
                <a:lnTo>
                  <a:pt x="405615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BC9676FB-3559-49E1-D1C9-9CF006814D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62767" y="2394697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C2BBA61-3C14-AB5F-A32C-6BF9E1ACAA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41530" y="2394697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21470A1A-4B67-9A3D-22DB-539A83D179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62767" y="2688733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77CA674C-C6DA-E21F-5A5D-E0AD352E0A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41530" y="2688733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53F4E591-8C45-6143-83E0-2242C7B061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62767" y="2982769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2C2866-7F59-5945-C44C-BD0E2CD8D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41530" y="2982769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0913DA61-CDFC-3EEC-C1EA-6D59488C81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62767" y="3276805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35D07F3-BA99-44EF-DB5D-72F0DEB638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541530" y="3276805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ECC73954-8192-C751-D6C1-5275B352E28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62767" y="3570841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066FF661-9BDC-EC6F-070B-736722C901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41530" y="3570841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277031D-42D3-B0D9-A72F-9EEB3BE614B0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bg1"/>
                </a:solidFill>
              </a:rPr>
              <a:t>‹N°›</a:t>
            </a:fld>
            <a:endParaRPr lang="fr-FR" sz="525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14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bg>
      <p:bgPr>
        <a:solidFill>
          <a:srgbClr val="003C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3D78698-E4DE-942C-B5CD-C5FD51A5B9DE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1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672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3EAA8BD-DBE0-C37D-6736-6DD494075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672" y="3732369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8219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62E33B6-E349-D93E-9F41-F21B9352D9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38701" y="1879899"/>
            <a:ext cx="3646628" cy="18524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5E1CD4-34E8-CCAF-5634-F3CA341A92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38219" y="3879995"/>
            <a:ext cx="3647111" cy="1395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825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2E7A943-0F43-3D49-4C01-6A5E80A576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62464A1-3D78-136F-EA5F-E5011AF2F822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  <p:grpSp>
        <p:nvGrpSpPr>
          <p:cNvPr id="3" name="Group 17">
            <a:extLst>
              <a:ext uri="{FF2B5EF4-FFF2-40B4-BE49-F238E27FC236}">
                <a16:creationId xmlns:a16="http://schemas.microsoft.com/office/drawing/2014/main" id="{82318784-D340-AC79-470A-21007D8CEA67}"/>
              </a:ext>
            </a:extLst>
          </p:cNvPr>
          <p:cNvGrpSpPr/>
          <p:nvPr userDrawn="1"/>
        </p:nvGrpSpPr>
        <p:grpSpPr>
          <a:xfrm>
            <a:off x="-616125" y="-1959990"/>
            <a:ext cx="6740501" cy="4120478"/>
            <a:chOff x="-821499" y="-2613320"/>
            <a:chExt cx="8987334" cy="5493971"/>
          </a:xfrm>
        </p:grpSpPr>
        <p:sp>
          <p:nvSpPr>
            <p:cNvPr id="4" name="Freeform: Shape 14">
              <a:extLst>
                <a:ext uri="{FF2B5EF4-FFF2-40B4-BE49-F238E27FC236}">
                  <a16:creationId xmlns:a16="http://schemas.microsoft.com/office/drawing/2014/main" id="{87F01EB5-B584-B428-5DC7-441DEDD63120}"/>
                </a:ext>
              </a:extLst>
            </p:cNvPr>
            <p:cNvSpPr/>
            <p:nvPr/>
          </p:nvSpPr>
          <p:spPr>
            <a:xfrm>
              <a:off x="5872783" y="-876686"/>
              <a:ext cx="2271340" cy="3757250"/>
            </a:xfrm>
            <a:custGeom>
              <a:avLst/>
              <a:gdLst>
                <a:gd name="connsiteX0" fmla="*/ 126137 w 2271340"/>
                <a:gd name="connsiteY0" fmla="*/ 2154336 h 3757250"/>
                <a:gd name="connsiteX1" fmla="*/ 123381 w 2271340"/>
                <a:gd name="connsiteY1" fmla="*/ 2157007 h 3757250"/>
                <a:gd name="connsiteX2" fmla="*/ 0 w 2271340"/>
                <a:gd name="connsiteY2" fmla="*/ 2278578 h 3757250"/>
                <a:gd name="connsiteX3" fmla="*/ 0 w 2271340"/>
                <a:gd name="connsiteY3" fmla="*/ 2719544 h 3757250"/>
                <a:gd name="connsiteX4" fmla="*/ 308021 w 2271340"/>
                <a:gd name="connsiteY4" fmla="*/ 3453796 h 3757250"/>
                <a:gd name="connsiteX5" fmla="*/ 308021 w 2271340"/>
                <a:gd name="connsiteY5" fmla="*/ 3453796 h 3757250"/>
                <a:gd name="connsiteX6" fmla="*/ 1135670 w 2271340"/>
                <a:gd name="connsiteY6" fmla="*/ 3757251 h 3757250"/>
                <a:gd name="connsiteX7" fmla="*/ 1966939 w 2271340"/>
                <a:gd name="connsiteY7" fmla="*/ 3453882 h 3757250"/>
                <a:gd name="connsiteX8" fmla="*/ 2271340 w 2271340"/>
                <a:gd name="connsiteY8" fmla="*/ 2719544 h 3757250"/>
                <a:gd name="connsiteX9" fmla="*/ 2271340 w 2271340"/>
                <a:gd name="connsiteY9" fmla="*/ 0 h 3757250"/>
                <a:gd name="connsiteX10" fmla="*/ 2107465 w 2271340"/>
                <a:gd name="connsiteY10" fmla="*/ 200407 h 3757250"/>
                <a:gd name="connsiteX11" fmla="*/ 126052 w 2271340"/>
                <a:gd name="connsiteY11" fmla="*/ 2154336 h 37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1340" h="3757250">
                  <a:moveTo>
                    <a:pt x="126137" y="2154336"/>
                  </a:moveTo>
                  <a:lnTo>
                    <a:pt x="123381" y="2157007"/>
                  </a:lnTo>
                  <a:lnTo>
                    <a:pt x="0" y="2278578"/>
                  </a:lnTo>
                  <a:lnTo>
                    <a:pt x="0" y="2719544"/>
                  </a:lnTo>
                  <a:cubicBezTo>
                    <a:pt x="0" y="3004215"/>
                    <a:pt x="109422" y="3265020"/>
                    <a:pt x="308021" y="3453796"/>
                  </a:cubicBezTo>
                  <a:cubicBezTo>
                    <a:pt x="308021" y="3453796"/>
                    <a:pt x="308021" y="3453796"/>
                    <a:pt x="308021" y="3453796"/>
                  </a:cubicBezTo>
                  <a:cubicBezTo>
                    <a:pt x="516872" y="3652308"/>
                    <a:pt x="803094" y="3757251"/>
                    <a:pt x="1135670" y="3757251"/>
                  </a:cubicBezTo>
                  <a:cubicBezTo>
                    <a:pt x="1468247" y="3757251"/>
                    <a:pt x="1759466" y="3652308"/>
                    <a:pt x="1966939" y="3453882"/>
                  </a:cubicBezTo>
                  <a:cubicBezTo>
                    <a:pt x="2163211" y="3266140"/>
                    <a:pt x="2271340" y="3005335"/>
                    <a:pt x="2271340" y="2719544"/>
                  </a:cubicBezTo>
                  <a:lnTo>
                    <a:pt x="2271340" y="0"/>
                  </a:lnTo>
                  <a:cubicBezTo>
                    <a:pt x="2224125" y="71943"/>
                    <a:pt x="2169414" y="139234"/>
                    <a:pt x="2107465" y="200407"/>
                  </a:cubicBezTo>
                  <a:lnTo>
                    <a:pt x="126052" y="2154336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8" name="Freeform: Shape 15">
              <a:extLst>
                <a:ext uri="{FF2B5EF4-FFF2-40B4-BE49-F238E27FC236}">
                  <a16:creationId xmlns:a16="http://schemas.microsoft.com/office/drawing/2014/main" id="{4B4AD346-8B96-6AB9-9BB9-F8E1978C81F1}"/>
                </a:ext>
              </a:extLst>
            </p:cNvPr>
            <p:cNvSpPr/>
            <p:nvPr/>
          </p:nvSpPr>
          <p:spPr>
            <a:xfrm>
              <a:off x="-821499" y="-1829439"/>
              <a:ext cx="3236954" cy="4710090"/>
            </a:xfrm>
            <a:custGeom>
              <a:avLst/>
              <a:gdLst>
                <a:gd name="connsiteX0" fmla="*/ 3205851 w 3236954"/>
                <a:gd name="connsiteY0" fmla="*/ 274160 h 4710090"/>
                <a:gd name="connsiteX1" fmla="*/ 3236954 w 3236954"/>
                <a:gd name="connsiteY1" fmla="*/ 0 h 4710090"/>
                <a:gd name="connsiteX2" fmla="*/ 265480 w 3236954"/>
                <a:gd name="connsiteY2" fmla="*/ 2930548 h 4710090"/>
                <a:gd name="connsiteX3" fmla="*/ 3296 w 3236954"/>
                <a:gd name="connsiteY3" fmla="*/ 3641796 h 4710090"/>
                <a:gd name="connsiteX4" fmla="*/ 350175 w 3236954"/>
                <a:gd name="connsiteY4" fmla="*/ 4361229 h 4710090"/>
                <a:gd name="connsiteX5" fmla="*/ 1129575 w 3236954"/>
                <a:gd name="connsiteY5" fmla="*/ 4710090 h 4710090"/>
                <a:gd name="connsiteX6" fmla="*/ 1859348 w 3236954"/>
                <a:gd name="connsiteY6" fmla="*/ 4410771 h 4710090"/>
                <a:gd name="connsiteX7" fmla="*/ 3205851 w 3236954"/>
                <a:gd name="connsiteY7" fmla="*/ 3082793 h 4710090"/>
                <a:gd name="connsiteX8" fmla="*/ 3205851 w 3236954"/>
                <a:gd name="connsiteY8" fmla="*/ 274160 h 471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6954" h="4710090">
                  <a:moveTo>
                    <a:pt x="3205851" y="274160"/>
                  </a:moveTo>
                  <a:cubicBezTo>
                    <a:pt x="3205851" y="181108"/>
                    <a:pt x="3216621" y="89348"/>
                    <a:pt x="3236954" y="0"/>
                  </a:cubicBezTo>
                  <a:lnTo>
                    <a:pt x="265480" y="2930548"/>
                  </a:lnTo>
                  <a:cubicBezTo>
                    <a:pt x="73947" y="3119410"/>
                    <a:pt x="-19192" y="3372031"/>
                    <a:pt x="3296" y="3641796"/>
                  </a:cubicBezTo>
                  <a:cubicBezTo>
                    <a:pt x="24922" y="3900878"/>
                    <a:pt x="148131" y="4156342"/>
                    <a:pt x="350175" y="4361229"/>
                  </a:cubicBezTo>
                  <a:cubicBezTo>
                    <a:pt x="559112" y="4573096"/>
                    <a:pt x="865065" y="4710090"/>
                    <a:pt x="1129575" y="4710090"/>
                  </a:cubicBezTo>
                  <a:cubicBezTo>
                    <a:pt x="1394085" y="4710090"/>
                    <a:pt x="1663679" y="4603769"/>
                    <a:pt x="1859348" y="4410771"/>
                  </a:cubicBezTo>
                  <a:lnTo>
                    <a:pt x="3205851" y="3082793"/>
                  </a:lnTo>
                  <a:lnTo>
                    <a:pt x="3205851" y="274160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1" name="Freeform: Shape 16">
              <a:extLst>
                <a:ext uri="{FF2B5EF4-FFF2-40B4-BE49-F238E27FC236}">
                  <a16:creationId xmlns:a16="http://schemas.microsoft.com/office/drawing/2014/main" id="{33D2809C-98CD-9C00-7024-433C6B85640C}"/>
                </a:ext>
              </a:extLst>
            </p:cNvPr>
            <p:cNvSpPr/>
            <p:nvPr/>
          </p:nvSpPr>
          <p:spPr>
            <a:xfrm>
              <a:off x="2564080" y="-2613320"/>
              <a:ext cx="5601755" cy="5493970"/>
            </a:xfrm>
            <a:custGeom>
              <a:avLst/>
              <a:gdLst>
                <a:gd name="connsiteX0" fmla="*/ 4953836 w 5601755"/>
                <a:gd name="connsiteY0" fmla="*/ 84867 h 5493970"/>
                <a:gd name="connsiteX1" fmla="*/ 4537082 w 5601755"/>
                <a:gd name="connsiteY1" fmla="*/ 0 h 5493970"/>
                <a:gd name="connsiteX2" fmla="*/ 3808774 w 5601755"/>
                <a:gd name="connsiteY2" fmla="*/ 306901 h 5493970"/>
                <a:gd name="connsiteX3" fmla="*/ 2376283 w 5601755"/>
                <a:gd name="connsiteY3" fmla="*/ 1719488 h 5493970"/>
                <a:gd name="connsiteX4" fmla="*/ 2366203 w 5601755"/>
                <a:gd name="connsiteY4" fmla="*/ 1726812 h 5493970"/>
                <a:gd name="connsiteX5" fmla="*/ 2236963 w 5601755"/>
                <a:gd name="connsiteY5" fmla="*/ 1854242 h 5493970"/>
                <a:gd name="connsiteX6" fmla="*/ 2236963 w 5601755"/>
                <a:gd name="connsiteY6" fmla="*/ 1058041 h 5493970"/>
                <a:gd name="connsiteX7" fmla="*/ 1589129 w 5601755"/>
                <a:gd name="connsiteY7" fmla="*/ 84867 h 5493970"/>
                <a:gd name="connsiteX8" fmla="*/ 1147474 w 5601755"/>
                <a:gd name="connsiteY8" fmla="*/ 3102 h 5493970"/>
                <a:gd name="connsiteX9" fmla="*/ 369711 w 5601755"/>
                <a:gd name="connsiteY9" fmla="*/ 252017 h 5493970"/>
                <a:gd name="connsiteX10" fmla="*/ 363852 w 5601755"/>
                <a:gd name="connsiteY10" fmla="*/ 256928 h 5493970"/>
                <a:gd name="connsiteX11" fmla="*/ 363852 w 5601755"/>
                <a:gd name="connsiteY11" fmla="*/ 256928 h 5493970"/>
                <a:gd name="connsiteX12" fmla="*/ 197823 w 5601755"/>
                <a:gd name="connsiteY12" fmla="*/ 442171 h 5493970"/>
                <a:gd name="connsiteX13" fmla="*/ 0 w 5601755"/>
                <a:gd name="connsiteY13" fmla="*/ 1057954 h 5493970"/>
                <a:gd name="connsiteX14" fmla="*/ 0 w 5601755"/>
                <a:gd name="connsiteY14" fmla="*/ 4389232 h 5493970"/>
                <a:gd name="connsiteX15" fmla="*/ 488956 w 5601755"/>
                <a:gd name="connsiteY15" fmla="*/ 5279261 h 5493970"/>
                <a:gd name="connsiteX16" fmla="*/ 1137652 w 5601755"/>
                <a:gd name="connsiteY16" fmla="*/ 5493971 h 5493970"/>
                <a:gd name="connsiteX17" fmla="*/ 1861479 w 5601755"/>
                <a:gd name="connsiteY17" fmla="*/ 5187759 h 5493970"/>
                <a:gd name="connsiteX18" fmla="*/ 3306118 w 5601755"/>
                <a:gd name="connsiteY18" fmla="*/ 3763195 h 5493970"/>
                <a:gd name="connsiteX19" fmla="*/ 3306118 w 5601755"/>
                <a:gd name="connsiteY19" fmla="*/ 3765866 h 5493970"/>
                <a:gd name="connsiteX20" fmla="*/ 3308875 w 5601755"/>
                <a:gd name="connsiteY20" fmla="*/ 3763195 h 5493970"/>
                <a:gd name="connsiteX21" fmla="*/ 5290289 w 5601755"/>
                <a:gd name="connsiteY21" fmla="*/ 1809267 h 5493970"/>
                <a:gd name="connsiteX22" fmla="*/ 5580302 w 5601755"/>
                <a:gd name="connsiteY22" fmla="*/ 1277403 h 5493970"/>
                <a:gd name="connsiteX23" fmla="*/ 5601756 w 5601755"/>
                <a:gd name="connsiteY23" fmla="*/ 1130242 h 5493970"/>
                <a:gd name="connsiteX24" fmla="*/ 5601756 w 5601755"/>
                <a:gd name="connsiteY24" fmla="*/ 1058127 h 5493970"/>
                <a:gd name="connsiteX25" fmla="*/ 4953922 w 5601755"/>
                <a:gd name="connsiteY25" fmla="*/ 84953 h 54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601755" h="5493970">
                  <a:moveTo>
                    <a:pt x="4953836" y="84867"/>
                  </a:moveTo>
                  <a:cubicBezTo>
                    <a:pt x="4802970" y="24125"/>
                    <a:pt x="4663478" y="0"/>
                    <a:pt x="4537082" y="0"/>
                  </a:cubicBezTo>
                  <a:cubicBezTo>
                    <a:pt x="4169869" y="0"/>
                    <a:pt x="3913286" y="203854"/>
                    <a:pt x="3808774" y="306901"/>
                  </a:cubicBezTo>
                  <a:lnTo>
                    <a:pt x="2376283" y="1719488"/>
                  </a:lnTo>
                  <a:cubicBezTo>
                    <a:pt x="2373182" y="1722590"/>
                    <a:pt x="2369563" y="1724399"/>
                    <a:pt x="2366203" y="1726812"/>
                  </a:cubicBezTo>
                  <a:lnTo>
                    <a:pt x="2236963" y="1854242"/>
                  </a:lnTo>
                  <a:lnTo>
                    <a:pt x="2236963" y="1058041"/>
                  </a:lnTo>
                  <a:cubicBezTo>
                    <a:pt x="2236963" y="632670"/>
                    <a:pt x="1981500" y="249001"/>
                    <a:pt x="1589129" y="84867"/>
                  </a:cubicBezTo>
                  <a:cubicBezTo>
                    <a:pt x="1457649" y="29897"/>
                    <a:pt x="1304457" y="3102"/>
                    <a:pt x="1147474" y="3102"/>
                  </a:cubicBezTo>
                  <a:cubicBezTo>
                    <a:pt x="865991" y="3102"/>
                    <a:pt x="572272" y="89003"/>
                    <a:pt x="369711" y="252017"/>
                  </a:cubicBezTo>
                  <a:cubicBezTo>
                    <a:pt x="367816" y="253654"/>
                    <a:pt x="365748" y="255291"/>
                    <a:pt x="363852" y="256928"/>
                  </a:cubicBezTo>
                  <a:cubicBezTo>
                    <a:pt x="363852" y="256928"/>
                    <a:pt x="363852" y="256928"/>
                    <a:pt x="363852" y="256928"/>
                  </a:cubicBezTo>
                  <a:cubicBezTo>
                    <a:pt x="301042" y="312587"/>
                    <a:pt x="245641" y="374881"/>
                    <a:pt x="197823" y="442171"/>
                  </a:cubicBezTo>
                  <a:cubicBezTo>
                    <a:pt x="71426" y="619919"/>
                    <a:pt x="0" y="833422"/>
                    <a:pt x="0" y="1057954"/>
                  </a:cubicBezTo>
                  <a:lnTo>
                    <a:pt x="0" y="4389232"/>
                  </a:lnTo>
                  <a:cubicBezTo>
                    <a:pt x="0" y="4763509"/>
                    <a:pt x="195065" y="5092036"/>
                    <a:pt x="488956" y="5279261"/>
                  </a:cubicBezTo>
                  <a:cubicBezTo>
                    <a:pt x="727274" y="5436761"/>
                    <a:pt x="946119" y="5493971"/>
                    <a:pt x="1137652" y="5493971"/>
                  </a:cubicBezTo>
                  <a:cubicBezTo>
                    <a:pt x="1483497" y="5493971"/>
                    <a:pt x="1740166" y="5307435"/>
                    <a:pt x="1861479" y="5187759"/>
                  </a:cubicBezTo>
                  <a:lnTo>
                    <a:pt x="3306118" y="3763195"/>
                  </a:lnTo>
                  <a:lnTo>
                    <a:pt x="3306118" y="3765866"/>
                  </a:lnTo>
                  <a:lnTo>
                    <a:pt x="3308875" y="3763195"/>
                  </a:lnTo>
                  <a:lnTo>
                    <a:pt x="5290289" y="1809267"/>
                  </a:lnTo>
                  <a:cubicBezTo>
                    <a:pt x="5443051" y="1658660"/>
                    <a:pt x="5539032" y="1472727"/>
                    <a:pt x="5580302" y="1277403"/>
                  </a:cubicBezTo>
                  <a:cubicBezTo>
                    <a:pt x="5590556" y="1228723"/>
                    <a:pt x="5598396" y="1179698"/>
                    <a:pt x="5601756" y="1130242"/>
                  </a:cubicBezTo>
                  <a:lnTo>
                    <a:pt x="5601756" y="1058127"/>
                  </a:lnTo>
                  <a:cubicBezTo>
                    <a:pt x="5601756" y="632843"/>
                    <a:pt x="5348533" y="243746"/>
                    <a:pt x="4953922" y="84953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</p:spTree>
    <p:extLst>
      <p:ext uri="{BB962C8B-B14F-4D97-AF65-F5344CB8AC3E}">
        <p14:creationId xmlns:p14="http://schemas.microsoft.com/office/powerpoint/2010/main" val="254766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C3B1F31-B544-831F-56A2-046F23F2BFDD}"/>
              </a:ext>
            </a:extLst>
          </p:cNvPr>
          <p:cNvSpPr/>
          <p:nvPr userDrawn="1"/>
        </p:nvSpPr>
        <p:spPr>
          <a:xfrm>
            <a:off x="-1244758" y="581132"/>
            <a:ext cx="6548279" cy="4003043"/>
          </a:xfrm>
          <a:custGeom>
            <a:avLst/>
            <a:gdLst>
              <a:gd name="connsiteX0" fmla="*/ 11192213 w 11219080"/>
              <a:gd name="connsiteY0" fmla="*/ 2167874 h 6858364"/>
              <a:gd name="connsiteX1" fmla="*/ 11192213 w 11219080"/>
              <a:gd name="connsiteY1" fmla="*/ 5562903 h 6858364"/>
              <a:gd name="connsiteX2" fmla="*/ 10812154 w 11219080"/>
              <a:gd name="connsiteY2" fmla="*/ 6479580 h 6858364"/>
              <a:gd name="connsiteX3" fmla="*/ 9774437 w 11219080"/>
              <a:gd name="connsiteY3" fmla="*/ 6858273 h 6858364"/>
              <a:gd name="connsiteX4" fmla="*/ 8741184 w 11219080"/>
              <a:gd name="connsiteY4" fmla="*/ 6479489 h 6858364"/>
              <a:gd name="connsiteX5" fmla="*/ 8356662 w 11219080"/>
              <a:gd name="connsiteY5" fmla="*/ 5562903 h 6858364"/>
              <a:gd name="connsiteX6" fmla="*/ 8356662 w 11219080"/>
              <a:gd name="connsiteY6" fmla="*/ 5012441 h 6858364"/>
              <a:gd name="connsiteX7" fmla="*/ 8510671 w 11219080"/>
              <a:gd name="connsiteY7" fmla="*/ 4860618 h 6858364"/>
              <a:gd name="connsiteX8" fmla="*/ 8514132 w 11219080"/>
              <a:gd name="connsiteY8" fmla="*/ 4857248 h 6858364"/>
              <a:gd name="connsiteX9" fmla="*/ 8514132 w 11219080"/>
              <a:gd name="connsiteY9" fmla="*/ 4857157 h 6858364"/>
              <a:gd name="connsiteX10" fmla="*/ 10987566 w 11219080"/>
              <a:gd name="connsiteY10" fmla="*/ 2418059 h 6858364"/>
              <a:gd name="connsiteX11" fmla="*/ 11192213 w 11219080"/>
              <a:gd name="connsiteY11" fmla="*/ 2167874 h 6858364"/>
              <a:gd name="connsiteX12" fmla="*/ 4040767 w 11219080"/>
              <a:gd name="connsiteY12" fmla="*/ 978608 h 6858364"/>
              <a:gd name="connsiteX13" fmla="*/ 4001969 w 11219080"/>
              <a:gd name="connsiteY13" fmla="*/ 1320779 h 6858364"/>
              <a:gd name="connsiteX14" fmla="*/ 4001969 w 11219080"/>
              <a:gd name="connsiteY14" fmla="*/ 4826829 h 6858364"/>
              <a:gd name="connsiteX15" fmla="*/ 2321076 w 11219080"/>
              <a:gd name="connsiteY15" fmla="*/ 6484590 h 6858364"/>
              <a:gd name="connsiteX16" fmla="*/ 1410045 w 11219080"/>
              <a:gd name="connsiteY16" fmla="*/ 6858273 h 6858364"/>
              <a:gd name="connsiteX17" fmla="*/ 437084 w 11219080"/>
              <a:gd name="connsiteY17" fmla="*/ 6422840 h 6858364"/>
              <a:gd name="connsiteX18" fmla="*/ 4110 w 11219080"/>
              <a:gd name="connsiteY18" fmla="*/ 5524743 h 6858364"/>
              <a:gd name="connsiteX19" fmla="*/ 331436 w 11219080"/>
              <a:gd name="connsiteY19" fmla="*/ 4636754 h 6858364"/>
              <a:gd name="connsiteX20" fmla="*/ 9890104 w 11219080"/>
              <a:gd name="connsiteY20" fmla="*/ 0 h 6858364"/>
              <a:gd name="connsiteX21" fmla="*/ 10410329 w 11219080"/>
              <a:gd name="connsiteY21" fmla="*/ 105921 h 6858364"/>
              <a:gd name="connsiteX22" fmla="*/ 10410420 w 11219080"/>
              <a:gd name="connsiteY22" fmla="*/ 106103 h 6858364"/>
              <a:gd name="connsiteX23" fmla="*/ 11219080 w 11219080"/>
              <a:gd name="connsiteY23" fmla="*/ 1320962 h 6858364"/>
              <a:gd name="connsiteX24" fmla="*/ 11219080 w 11219080"/>
              <a:gd name="connsiteY24" fmla="*/ 1410945 h 6858364"/>
              <a:gd name="connsiteX25" fmla="*/ 11192304 w 11219080"/>
              <a:gd name="connsiteY25" fmla="*/ 1594644 h 6858364"/>
              <a:gd name="connsiteX26" fmla="*/ 10830187 w 11219080"/>
              <a:gd name="connsiteY26" fmla="*/ 2258586 h 6858364"/>
              <a:gd name="connsiteX27" fmla="*/ 8356753 w 11219080"/>
              <a:gd name="connsiteY27" fmla="*/ 4697685 h 6858364"/>
              <a:gd name="connsiteX28" fmla="*/ 8353292 w 11219080"/>
              <a:gd name="connsiteY28" fmla="*/ 4701054 h 6858364"/>
              <a:gd name="connsiteX29" fmla="*/ 8353292 w 11219080"/>
              <a:gd name="connsiteY29" fmla="*/ 4697776 h 6858364"/>
              <a:gd name="connsiteX30" fmla="*/ 6549902 w 11219080"/>
              <a:gd name="connsiteY30" fmla="*/ 6476120 h 6858364"/>
              <a:gd name="connsiteX31" fmla="*/ 5646341 w 11219080"/>
              <a:gd name="connsiteY31" fmla="*/ 6858364 h 6858364"/>
              <a:gd name="connsiteX32" fmla="*/ 4836586 w 11219080"/>
              <a:gd name="connsiteY32" fmla="*/ 6590329 h 6858364"/>
              <a:gd name="connsiteX33" fmla="*/ 4226197 w 11219080"/>
              <a:gd name="connsiteY33" fmla="*/ 5479296 h 6858364"/>
              <a:gd name="connsiteX34" fmla="*/ 4226197 w 11219080"/>
              <a:gd name="connsiteY34" fmla="*/ 1320871 h 6858364"/>
              <a:gd name="connsiteX35" fmla="*/ 4473194 w 11219080"/>
              <a:gd name="connsiteY35" fmla="*/ 552192 h 6858364"/>
              <a:gd name="connsiteX36" fmla="*/ 4680482 w 11219080"/>
              <a:gd name="connsiteY36" fmla="*/ 320951 h 6858364"/>
              <a:gd name="connsiteX37" fmla="*/ 4687769 w 11219080"/>
              <a:gd name="connsiteY37" fmla="*/ 314758 h 6858364"/>
              <a:gd name="connsiteX38" fmla="*/ 5658727 w 11219080"/>
              <a:gd name="connsiteY38" fmla="*/ 4007 h 6858364"/>
              <a:gd name="connsiteX39" fmla="*/ 6210008 w 11219080"/>
              <a:gd name="connsiteY39" fmla="*/ 106012 h 6858364"/>
              <a:gd name="connsiteX40" fmla="*/ 7018669 w 11219080"/>
              <a:gd name="connsiteY40" fmla="*/ 1320871 h 6858364"/>
              <a:gd name="connsiteX41" fmla="*/ 7018669 w 11219080"/>
              <a:gd name="connsiteY41" fmla="*/ 2314871 h 6858364"/>
              <a:gd name="connsiteX42" fmla="*/ 7180055 w 11219080"/>
              <a:gd name="connsiteY42" fmla="*/ 2155762 h 6858364"/>
              <a:gd name="connsiteX43" fmla="*/ 7192715 w 11219080"/>
              <a:gd name="connsiteY43" fmla="*/ 2146563 h 6858364"/>
              <a:gd name="connsiteX44" fmla="*/ 8980895 w 11219080"/>
              <a:gd name="connsiteY44" fmla="*/ 383155 h 6858364"/>
              <a:gd name="connsiteX45" fmla="*/ 9890104 w 11219080"/>
              <a:gd name="connsiteY45" fmla="*/ 0 h 6858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219080" h="6858364">
                <a:moveTo>
                  <a:pt x="11192213" y="2167874"/>
                </a:moveTo>
                <a:lnTo>
                  <a:pt x="11192213" y="5562903"/>
                </a:lnTo>
                <a:cubicBezTo>
                  <a:pt x="11192213" y="5919737"/>
                  <a:pt x="11057238" y="6245242"/>
                  <a:pt x="10812154" y="6479580"/>
                </a:cubicBezTo>
                <a:cubicBezTo>
                  <a:pt x="10553135" y="6727306"/>
                  <a:pt x="10189742" y="6858273"/>
                  <a:pt x="9774437" y="6858273"/>
                </a:cubicBezTo>
                <a:cubicBezTo>
                  <a:pt x="9359132" y="6858273"/>
                  <a:pt x="9001843" y="6727306"/>
                  <a:pt x="8741184" y="6479489"/>
                </a:cubicBezTo>
                <a:cubicBezTo>
                  <a:pt x="8493184" y="6243785"/>
                  <a:pt x="8356662" y="5918280"/>
                  <a:pt x="8356662" y="5562903"/>
                </a:cubicBezTo>
                <a:lnTo>
                  <a:pt x="8356662" y="5012441"/>
                </a:lnTo>
                <a:lnTo>
                  <a:pt x="8510671" y="4860618"/>
                </a:lnTo>
                <a:lnTo>
                  <a:pt x="8514132" y="4857248"/>
                </a:lnTo>
                <a:lnTo>
                  <a:pt x="8514132" y="4857157"/>
                </a:lnTo>
                <a:lnTo>
                  <a:pt x="10987566" y="2418059"/>
                </a:lnTo>
                <a:cubicBezTo>
                  <a:pt x="11064981" y="2341737"/>
                  <a:pt x="11133196" y="2257675"/>
                  <a:pt x="11192213" y="2167874"/>
                </a:cubicBezTo>
                <a:close/>
                <a:moveTo>
                  <a:pt x="4040767" y="978608"/>
                </a:moveTo>
                <a:cubicBezTo>
                  <a:pt x="4015357" y="1090085"/>
                  <a:pt x="4001969" y="1204658"/>
                  <a:pt x="4001969" y="1320779"/>
                </a:cubicBezTo>
                <a:lnTo>
                  <a:pt x="4001969" y="4826829"/>
                </a:lnTo>
                <a:lnTo>
                  <a:pt x="2321076" y="6484590"/>
                </a:lnTo>
                <a:cubicBezTo>
                  <a:pt x="2076719" y="6725576"/>
                  <a:pt x="1740286" y="6858273"/>
                  <a:pt x="1410045" y="6858273"/>
                </a:cubicBezTo>
                <a:cubicBezTo>
                  <a:pt x="1079805" y="6858273"/>
                  <a:pt x="697924" y="6687324"/>
                  <a:pt x="437084" y="6422840"/>
                </a:cubicBezTo>
                <a:cubicBezTo>
                  <a:pt x="184895" y="6167100"/>
                  <a:pt x="31068" y="5848153"/>
                  <a:pt x="4110" y="5524743"/>
                </a:cubicBezTo>
                <a:cubicBezTo>
                  <a:pt x="-23942" y="5187945"/>
                  <a:pt x="92271" y="4872641"/>
                  <a:pt x="331436" y="4636754"/>
                </a:cubicBezTo>
                <a:close/>
                <a:moveTo>
                  <a:pt x="9890104" y="0"/>
                </a:moveTo>
                <a:cubicBezTo>
                  <a:pt x="10047847" y="0"/>
                  <a:pt x="10221984" y="30146"/>
                  <a:pt x="10410329" y="105921"/>
                </a:cubicBezTo>
                <a:lnTo>
                  <a:pt x="10410420" y="106103"/>
                </a:lnTo>
                <a:cubicBezTo>
                  <a:pt x="10902957" y="304284"/>
                  <a:pt x="11219080" y="789991"/>
                  <a:pt x="11219080" y="1320962"/>
                </a:cubicBezTo>
                <a:lnTo>
                  <a:pt x="11219080" y="1410945"/>
                </a:lnTo>
                <a:cubicBezTo>
                  <a:pt x="11214891" y="1472603"/>
                  <a:pt x="11205146" y="1533897"/>
                  <a:pt x="11192304" y="1594644"/>
                </a:cubicBezTo>
                <a:cubicBezTo>
                  <a:pt x="11140755" y="1838454"/>
                  <a:pt x="11020899" y="2070515"/>
                  <a:pt x="10830187" y="2258586"/>
                </a:cubicBezTo>
                <a:lnTo>
                  <a:pt x="8356753" y="4697685"/>
                </a:lnTo>
                <a:lnTo>
                  <a:pt x="8353292" y="4701054"/>
                </a:lnTo>
                <a:lnTo>
                  <a:pt x="8353292" y="4697776"/>
                </a:lnTo>
                <a:lnTo>
                  <a:pt x="6549902" y="6476120"/>
                </a:lnTo>
                <a:cubicBezTo>
                  <a:pt x="6398443" y="6625484"/>
                  <a:pt x="6078039" y="6858364"/>
                  <a:pt x="5646341" y="6858364"/>
                </a:cubicBezTo>
                <a:cubicBezTo>
                  <a:pt x="5407358" y="6858364"/>
                  <a:pt x="5134130" y="6786870"/>
                  <a:pt x="4836586" y="6590329"/>
                </a:cubicBezTo>
                <a:cubicBezTo>
                  <a:pt x="4469733" y="6356629"/>
                  <a:pt x="4226197" y="5946515"/>
                  <a:pt x="4226197" y="5479296"/>
                </a:cubicBezTo>
                <a:lnTo>
                  <a:pt x="4226197" y="1320871"/>
                </a:lnTo>
                <a:cubicBezTo>
                  <a:pt x="4226197" y="1040540"/>
                  <a:pt x="4315451" y="774143"/>
                  <a:pt x="4473194" y="552192"/>
                </a:cubicBezTo>
                <a:cubicBezTo>
                  <a:pt x="4532940" y="468220"/>
                  <a:pt x="4602157" y="390442"/>
                  <a:pt x="4680482" y="320951"/>
                </a:cubicBezTo>
                <a:cubicBezTo>
                  <a:pt x="4682850" y="318765"/>
                  <a:pt x="4685401" y="316852"/>
                  <a:pt x="4687769" y="314758"/>
                </a:cubicBezTo>
                <a:cubicBezTo>
                  <a:pt x="4940686" y="111295"/>
                  <a:pt x="5307357" y="4007"/>
                  <a:pt x="5658727" y="4007"/>
                </a:cubicBezTo>
                <a:cubicBezTo>
                  <a:pt x="5854631" y="4007"/>
                  <a:pt x="6045890" y="37341"/>
                  <a:pt x="6210008" y="106012"/>
                </a:cubicBezTo>
                <a:cubicBezTo>
                  <a:pt x="6699813" y="310932"/>
                  <a:pt x="7018669" y="789900"/>
                  <a:pt x="7018669" y="1320871"/>
                </a:cubicBezTo>
                <a:lnTo>
                  <a:pt x="7018669" y="2314871"/>
                </a:lnTo>
                <a:lnTo>
                  <a:pt x="7180055" y="2155762"/>
                </a:lnTo>
                <a:cubicBezTo>
                  <a:pt x="7184336" y="2152665"/>
                  <a:pt x="7188799" y="2150388"/>
                  <a:pt x="7192715" y="2146563"/>
                </a:cubicBezTo>
                <a:lnTo>
                  <a:pt x="8980895" y="383155"/>
                </a:lnTo>
                <a:cubicBezTo>
                  <a:pt x="9111406" y="254466"/>
                  <a:pt x="9431720" y="0"/>
                  <a:pt x="9890104" y="0"/>
                </a:cubicBezTo>
                <a:close/>
              </a:path>
            </a:pathLst>
          </a:custGeom>
          <a:solidFill>
            <a:schemeClr val="tx2"/>
          </a:solidFill>
          <a:ln w="9108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135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48308" y="2343226"/>
            <a:ext cx="2230273" cy="45704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Sommaire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F9FABB6-620D-AA45-3B84-DB5A0A0BC3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3"/>
            <a:ext cx="3498485" cy="934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D6528B12-10F2-1E53-2D57-FCECC07C2A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62767" y="2039510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B7106B8-EE8A-1D21-D714-694926E11E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41530" y="2039510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D13DF5DE-1192-3786-2C36-0E30FB4A95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2767" y="2333546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F2DDB53A-4EFA-BCD9-D4B9-AFCF04D3F9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41530" y="2333546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AFD1E534-525B-CBD7-A0BA-12C341B1F3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2767" y="2627582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161C533-8A33-19CC-357D-5B3FC40967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41530" y="2627582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7697EEF-3C60-A0E3-DB56-0457066F4B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2767" y="2921618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7F9C42D-F7E3-191B-BB92-7FA7A9AA32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541530" y="2921618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155F0F7-14E9-FA18-A32B-2CED133E1A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2767" y="3215654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ADD7BF3E-E7B7-35E8-3633-2AB077B59DA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41530" y="3215654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1E5060D-7A47-ABFB-9BD6-E36F609A6F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2767" y="3509690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2E4F0D5A-8AD9-6E14-1968-AAC7AAFCD2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41530" y="3509690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87B91343-F4A4-BB19-8B94-C24FC231EB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2767" y="1451438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2D31D7ED-3F7F-6689-BD6D-AA0B4B6C44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41530" y="1451438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25AD284-815E-D1E9-BFEA-512EC7297E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2767" y="1745474"/>
            <a:ext cx="341755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 err="1"/>
              <a:t>Partie</a:t>
            </a:r>
            <a:r>
              <a:rPr lang="en-US" dirty="0"/>
              <a:t> 1 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BC791F8-C3FC-7156-F00D-7324898B63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41530" y="1745474"/>
            <a:ext cx="215518" cy="1869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135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59A7CCBA-26ED-9D58-1E88-BFF3AD8305C0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bg2"/>
                </a:solidFill>
              </a:rPr>
              <a:t>‹N°›</a:t>
            </a:fld>
            <a:endParaRPr lang="fr-FR" sz="525" dirty="0">
              <a:solidFill>
                <a:schemeClr val="bg2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06C5A55-9D29-A9B5-90C6-859BF8DF917A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  <a:solidFill>
            <a:schemeClr val="bg1"/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87A3BEB-9EB9-5FBE-E3E5-F941C9D31FD3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59B2912-869D-1A14-1921-382BFDC8A4B7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9ECA825-C192-834E-2022-5794552C4AFE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539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771A3E7-1FCA-1FF5-6E4F-9493BB6D4CAE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4D4F23D-AFCD-B44C-7886-D1CBC3C2C1BF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C932CDD-2E0A-CA25-347C-7FE811D52CC9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70ACB1E-8B2B-BF67-43B8-535EB0C428E2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6FFB14-114A-5652-CE97-6669E506F5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3513586" cy="5143500"/>
          </a:xfrm>
          <a:custGeom>
            <a:avLst/>
            <a:gdLst>
              <a:gd name="connsiteX0" fmla="*/ 0 w 4684781"/>
              <a:gd name="connsiteY0" fmla="*/ 0 h 6858000"/>
              <a:gd name="connsiteX1" fmla="*/ 3641008 w 4684781"/>
              <a:gd name="connsiteY1" fmla="*/ 0 h 6858000"/>
              <a:gd name="connsiteX2" fmla="*/ 3791691 w 4684781"/>
              <a:gd name="connsiteY2" fmla="*/ 167298 h 6858000"/>
              <a:gd name="connsiteX3" fmla="*/ 3524126 w 4684781"/>
              <a:gd name="connsiteY3" fmla="*/ 5548346 h 6858000"/>
              <a:gd name="connsiteX4" fmla="*/ 2193069 w 4684781"/>
              <a:gd name="connsiteY4" fmla="*/ 6858000 h 6858000"/>
              <a:gd name="connsiteX5" fmla="*/ 0 w 4684781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4781" h="6858000">
                <a:moveTo>
                  <a:pt x="0" y="0"/>
                </a:moveTo>
                <a:lnTo>
                  <a:pt x="3641008" y="0"/>
                </a:lnTo>
                <a:lnTo>
                  <a:pt x="3791691" y="167298"/>
                </a:lnTo>
                <a:cubicBezTo>
                  <a:pt x="5018619" y="1639136"/>
                  <a:pt x="5029487" y="4039351"/>
                  <a:pt x="3524126" y="5548346"/>
                </a:cubicBezTo>
                <a:lnTo>
                  <a:pt x="219306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53E3D48-D4DE-63BA-85E1-D47C7531E5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3587" y="2160125"/>
            <a:ext cx="3794281" cy="9140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03042B4-3604-8ED1-5BB6-6C101AB7B5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03587" y="3191709"/>
            <a:ext cx="379428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46DF9C0-A246-9BDF-93D7-7DFD8CC3A1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03587" y="1151185"/>
            <a:ext cx="379428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2FBBA6-62C9-C60D-6FD2-6429B6C79958}"/>
              </a:ext>
            </a:extLst>
          </p:cNvPr>
          <p:cNvSpPr/>
          <p:nvPr userDrawn="1"/>
        </p:nvSpPr>
        <p:spPr>
          <a:xfrm>
            <a:off x="3903586" y="3628914"/>
            <a:ext cx="391478" cy="342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schemeClr val="bg1"/>
              </a:solidFill>
            </a:endParaRP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1B4830D-EAB8-C07F-C257-9EC7E0C615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B371221-A14F-EF91-8C86-14F25DDA1BC0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1"/>
                </a:solidFill>
              </a:rPr>
              <a:t>‹N°›</a:t>
            </a:fld>
            <a:endParaRPr lang="fr-FR" sz="525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99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phic 44">
            <a:extLst>
              <a:ext uri="{FF2B5EF4-FFF2-40B4-BE49-F238E27FC236}">
                <a16:creationId xmlns:a16="http://schemas.microsoft.com/office/drawing/2014/main" id="{BBA7542F-EE0F-AB43-E7AB-0C5A9060B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244758" y="581132"/>
            <a:ext cx="6544159" cy="4003043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48308" y="1886179"/>
            <a:ext cx="2666156" cy="9140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48308" y="2923601"/>
            <a:ext cx="2666156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E38CB365-0219-E63F-74AC-2AE8262C7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486" y="196013"/>
            <a:ext cx="57115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A21C1FD-CED0-55D4-C214-0521DB22D65F}"/>
              </a:ext>
            </a:extLst>
          </p:cNvPr>
          <p:cNvSpPr/>
          <p:nvPr userDrawn="1"/>
        </p:nvSpPr>
        <p:spPr>
          <a:xfrm>
            <a:off x="465634" y="1027011"/>
            <a:ext cx="341610" cy="4169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D7C651F4-622F-BEF9-C0C9-AF2DD9009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0E3A263-F491-B47E-7E28-B92659C01950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1"/>
                </a:solidFill>
              </a:rPr>
              <a:t>‹N°›</a:t>
            </a:fld>
            <a:endParaRPr lang="fr-FR" sz="525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86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, intérieur, personne, cuisine&#10;&#10;Description générée automatiquement">
            <a:extLst>
              <a:ext uri="{FF2B5EF4-FFF2-40B4-BE49-F238E27FC236}">
                <a16:creationId xmlns:a16="http://schemas.microsoft.com/office/drawing/2014/main" id="{07F82A9C-A69B-3205-307F-7D319222D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995" t="6118" r="31770" b="3423"/>
          <a:stretch/>
        </p:blipFill>
        <p:spPr>
          <a:xfrm>
            <a:off x="3456228" y="492833"/>
            <a:ext cx="1075803" cy="3741190"/>
          </a:xfrm>
          <a:prstGeom prst="rect">
            <a:avLst/>
          </a:prstGeom>
        </p:spPr>
      </p:pic>
      <p:pic>
        <p:nvPicPr>
          <p:cNvPr id="7" name="Image 6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id="{21B10902-C9FD-BD90-7BE4-921BF8BDC1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8686" r="2255" b="634"/>
          <a:stretch/>
        </p:blipFill>
        <p:spPr>
          <a:xfrm>
            <a:off x="6911761" y="500704"/>
            <a:ext cx="1076377" cy="3750044"/>
          </a:xfrm>
          <a:prstGeom prst="rect">
            <a:avLst/>
          </a:prstGeom>
        </p:spPr>
      </p:pic>
      <p:pic>
        <p:nvPicPr>
          <p:cNvPr id="5" name="Image 4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9F6FFB4D-D7F5-0637-B928-14E414346A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3099" t="22412" r="47196" b="10991"/>
          <a:stretch/>
        </p:blipFill>
        <p:spPr>
          <a:xfrm>
            <a:off x="1142795" y="500703"/>
            <a:ext cx="1114359" cy="3733319"/>
          </a:xfrm>
          <a:prstGeom prst="rect">
            <a:avLst/>
          </a:prstGeom>
        </p:spPr>
      </p:pic>
      <p:pic>
        <p:nvPicPr>
          <p:cNvPr id="3" name="Image 2" descr="Une image contenant texte, intérieur&#10;&#10;Description générée automatiquement">
            <a:extLst>
              <a:ext uri="{FF2B5EF4-FFF2-40B4-BE49-F238E27FC236}">
                <a16:creationId xmlns:a16="http://schemas.microsoft.com/office/drawing/2014/main" id="{4EA89B64-A10C-D1B4-9D0B-3A2153AFA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018" r="59027"/>
          <a:stretch/>
        </p:blipFill>
        <p:spPr>
          <a:xfrm>
            <a:off x="6350" y="500703"/>
            <a:ext cx="1089715" cy="3733318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3C12F26-3B42-EA3B-78FA-E31868E4F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0030" t="39857" r="24111" b="18374"/>
          <a:stretch/>
        </p:blipFill>
        <p:spPr>
          <a:xfrm>
            <a:off x="5749915" y="500705"/>
            <a:ext cx="1099649" cy="3750044"/>
          </a:xfrm>
          <a:prstGeom prst="rect">
            <a:avLst/>
          </a:prstGeom>
        </p:spPr>
      </p:pic>
      <p:pic>
        <p:nvPicPr>
          <p:cNvPr id="38" name="Image 37" descr="Une image contenant intérieur&#10;&#10;Description générée automatiquement">
            <a:extLst>
              <a:ext uri="{FF2B5EF4-FFF2-40B4-BE49-F238E27FC236}">
                <a16:creationId xmlns:a16="http://schemas.microsoft.com/office/drawing/2014/main" id="{ABA1D7D0-2DE4-5E7D-5E7A-DE43DEBA5A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4562" r="55928"/>
          <a:stretch/>
        </p:blipFill>
        <p:spPr>
          <a:xfrm>
            <a:off x="4595394" y="500705"/>
            <a:ext cx="1094438" cy="3747444"/>
          </a:xfrm>
          <a:prstGeom prst="rect">
            <a:avLst/>
          </a:prstGeom>
        </p:spPr>
      </p:pic>
      <p:pic>
        <p:nvPicPr>
          <p:cNvPr id="11" name="Image 10" descr="carre-vierge.png">
            <a:extLst>
              <a:ext uri="{FF2B5EF4-FFF2-40B4-BE49-F238E27FC236}">
                <a16:creationId xmlns:a16="http://schemas.microsoft.com/office/drawing/2014/main" id="{73FF4071-B0A4-4319-BF69-065DBF74D66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6366" y="1092200"/>
            <a:ext cx="2603500" cy="2603500"/>
          </a:xfrm>
          <a:prstGeom prst="rect">
            <a:avLst/>
          </a:prstGeom>
        </p:spPr>
      </p:pic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CDDA0E93-B213-475B-97A7-788B1BCE75BB}"/>
              </a:ext>
            </a:extLst>
          </p:cNvPr>
          <p:cNvSpPr txBox="1">
            <a:spLocks/>
          </p:cNvSpPr>
          <p:nvPr userDrawn="1"/>
        </p:nvSpPr>
        <p:spPr>
          <a:xfrm>
            <a:off x="5047166" y="11303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2800" b="0" i="0" kern="1200" cap="all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sz="2400" dirty="0">
                <a:solidFill>
                  <a:schemeClr val="bg1"/>
                </a:solidFill>
                <a:latin typeface="+mj-lt"/>
              </a:rPr>
              <a:t>CAPACITE &amp; ORGANISATION DE PRODUCTION</a:t>
            </a:r>
          </a:p>
          <a:p>
            <a:endParaRPr lang="fr-FR" sz="2400" dirty="0"/>
          </a:p>
        </p:txBody>
      </p:sp>
      <p:pic>
        <p:nvPicPr>
          <p:cNvPr id="34" name="Image 33" descr="Une image contenant habits, caleçon&#10;&#10;Description générée automatiquement">
            <a:extLst>
              <a:ext uri="{FF2B5EF4-FFF2-40B4-BE49-F238E27FC236}">
                <a16:creationId xmlns:a16="http://schemas.microsoft.com/office/drawing/2014/main" id="{74EDD43D-9AAD-F150-4D1E-09DCF50D64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39435" t="144" r="39660" b="-383"/>
          <a:stretch/>
        </p:blipFill>
        <p:spPr>
          <a:xfrm>
            <a:off x="8051501" y="500704"/>
            <a:ext cx="1166425" cy="3755089"/>
          </a:xfrm>
          <a:prstGeom prst="rect">
            <a:avLst/>
          </a:prstGeom>
        </p:spPr>
      </p:pic>
      <p:pic>
        <p:nvPicPr>
          <p:cNvPr id="45" name="Image 44" descr="Une image contenant texte&#10;&#10;Description générée automatiquement">
            <a:extLst>
              <a:ext uri="{FF2B5EF4-FFF2-40B4-BE49-F238E27FC236}">
                <a16:creationId xmlns:a16="http://schemas.microsoft.com/office/drawing/2014/main" id="{D79F6D7E-FA81-1766-F48B-60B71DF2CB9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018EC4C5-A5E2-1F98-8403-881F138D017B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2295158F-61AC-3885-C23E-8F5336750592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51C8FCC-7156-58C5-EF9F-95EDB33EF249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290EE1A4-EDAD-7D76-99FC-A23038F527E7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18" name="Image 17" descr="Une image contenant gâteau, chocolat, morceau, tranche&#10;&#10;Description générée automatiquement">
            <a:extLst>
              <a:ext uri="{FF2B5EF4-FFF2-40B4-BE49-F238E27FC236}">
                <a16:creationId xmlns:a16="http://schemas.microsoft.com/office/drawing/2014/main" id="{54773CF7-0BC8-F3F4-68DE-7A4235631B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21042" t="14028" r="51652" b="23990"/>
          <a:stretch/>
        </p:blipFill>
        <p:spPr>
          <a:xfrm>
            <a:off x="2298003" y="500704"/>
            <a:ext cx="1098142" cy="374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2539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phic 44">
            <a:extLst>
              <a:ext uri="{FF2B5EF4-FFF2-40B4-BE49-F238E27FC236}">
                <a16:creationId xmlns:a16="http://schemas.microsoft.com/office/drawing/2014/main" id="{BBA7542F-EE0F-AB43-E7AB-0C5A9060BC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616108" y="-1959990"/>
            <a:ext cx="6739839" cy="412274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3D78698-E4DE-942C-B5CD-C5FD51A5B9DE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1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672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3EAA8BD-DBE0-C37D-6736-6DD494075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672" y="3732369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8219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62E33B6-E349-D93E-9F41-F21B9352D9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38701" y="1879899"/>
            <a:ext cx="3646628" cy="18524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5E1CD4-34E8-CCAF-5634-F3CA341A92B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38219" y="3879995"/>
            <a:ext cx="3647111" cy="1395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825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2E7A943-0F43-3D49-4C01-6A5E80A576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62464A1-3D78-136F-EA5F-E5011AF2F822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</p:spTree>
    <p:extLst>
      <p:ext uri="{BB962C8B-B14F-4D97-AF65-F5344CB8AC3E}">
        <p14:creationId xmlns:p14="http://schemas.microsoft.com/office/powerpoint/2010/main" val="1754856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C771A3E7-1FCA-1FF5-6E4F-9493BB6D4CAE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  <a:solidFill>
            <a:schemeClr val="bg2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4D4F23D-AFCD-B44C-7886-D1CBC3C2C1BF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C932CDD-2E0A-CA25-347C-7FE811D52CC9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70ACB1E-8B2B-BF67-43B8-535EB0C428E2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6FFB14-114A-5652-CE97-6669E506F5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3513586" cy="5143500"/>
          </a:xfrm>
          <a:custGeom>
            <a:avLst/>
            <a:gdLst>
              <a:gd name="connsiteX0" fmla="*/ 0 w 4684781"/>
              <a:gd name="connsiteY0" fmla="*/ 0 h 6858000"/>
              <a:gd name="connsiteX1" fmla="*/ 3641008 w 4684781"/>
              <a:gd name="connsiteY1" fmla="*/ 0 h 6858000"/>
              <a:gd name="connsiteX2" fmla="*/ 3791691 w 4684781"/>
              <a:gd name="connsiteY2" fmla="*/ 167298 h 6858000"/>
              <a:gd name="connsiteX3" fmla="*/ 3524126 w 4684781"/>
              <a:gd name="connsiteY3" fmla="*/ 5548346 h 6858000"/>
              <a:gd name="connsiteX4" fmla="*/ 2193069 w 4684781"/>
              <a:gd name="connsiteY4" fmla="*/ 6858000 h 6858000"/>
              <a:gd name="connsiteX5" fmla="*/ 0 w 4684781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4781" h="6858000">
                <a:moveTo>
                  <a:pt x="0" y="0"/>
                </a:moveTo>
                <a:lnTo>
                  <a:pt x="3641008" y="0"/>
                </a:lnTo>
                <a:lnTo>
                  <a:pt x="3791691" y="167298"/>
                </a:lnTo>
                <a:cubicBezTo>
                  <a:pt x="5018619" y="1639136"/>
                  <a:pt x="5029487" y="4039351"/>
                  <a:pt x="3524126" y="5548346"/>
                </a:cubicBezTo>
                <a:lnTo>
                  <a:pt x="219306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153E3D48-D4DE-63BA-85E1-D47C7531E5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3587" y="2160125"/>
            <a:ext cx="3794281" cy="9140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303042B4-3604-8ED1-5BB6-6C101AB7B5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03587" y="3191709"/>
            <a:ext cx="379428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46DF9C0-A246-9BDF-93D7-7DFD8CC3A1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03587" y="1151185"/>
            <a:ext cx="379428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22FBBA6-62C9-C60D-6FD2-6429B6C79958}"/>
              </a:ext>
            </a:extLst>
          </p:cNvPr>
          <p:cNvSpPr/>
          <p:nvPr userDrawn="1"/>
        </p:nvSpPr>
        <p:spPr>
          <a:xfrm>
            <a:off x="3903586" y="3628914"/>
            <a:ext cx="391478" cy="34289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schemeClr val="bg2"/>
              </a:solidFill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BEEEA35-CC65-2348-84D5-2952F432CF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E3B0DFF-BFFB-F1A8-6BD6-7540C1EA3879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2"/>
                </a:solidFill>
              </a:rPr>
              <a:t>‹N°›</a:t>
            </a:fld>
            <a:endParaRPr lang="fr-FR" sz="525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47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B77C2E44-4999-6F60-5700-9852C9441A31}"/>
              </a:ext>
            </a:extLst>
          </p:cNvPr>
          <p:cNvGrpSpPr/>
          <p:nvPr userDrawn="1"/>
        </p:nvGrpSpPr>
        <p:grpSpPr>
          <a:xfrm>
            <a:off x="-1249900" y="577714"/>
            <a:ext cx="6544802" cy="4000847"/>
            <a:chOff x="-1666533" y="770286"/>
            <a:chExt cx="8726402" cy="5334462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4072D85-9813-21E8-9EE4-CEA900D10067}"/>
                </a:ext>
              </a:extLst>
            </p:cNvPr>
            <p:cNvSpPr/>
            <p:nvPr/>
          </p:nvSpPr>
          <p:spPr>
            <a:xfrm>
              <a:off x="4833391" y="2456499"/>
              <a:ext cx="2205395" cy="3648164"/>
            </a:xfrm>
            <a:custGeom>
              <a:avLst/>
              <a:gdLst>
                <a:gd name="connsiteX0" fmla="*/ 122475 w 2205395"/>
                <a:gd name="connsiteY0" fmla="*/ 2091789 h 3648164"/>
                <a:gd name="connsiteX1" fmla="*/ 119799 w 2205395"/>
                <a:gd name="connsiteY1" fmla="*/ 2094382 h 3648164"/>
                <a:gd name="connsiteX2" fmla="*/ 0 w 2205395"/>
                <a:gd name="connsiteY2" fmla="*/ 2212424 h 3648164"/>
                <a:gd name="connsiteX3" fmla="*/ 0 w 2205395"/>
                <a:gd name="connsiteY3" fmla="*/ 2640586 h 3648164"/>
                <a:gd name="connsiteX4" fmla="*/ 299078 w 2205395"/>
                <a:gd name="connsiteY4" fmla="*/ 3353521 h 3648164"/>
                <a:gd name="connsiteX5" fmla="*/ 299078 w 2205395"/>
                <a:gd name="connsiteY5" fmla="*/ 3353521 h 3648164"/>
                <a:gd name="connsiteX6" fmla="*/ 1102698 w 2205395"/>
                <a:gd name="connsiteY6" fmla="*/ 3648165 h 3648164"/>
                <a:gd name="connsiteX7" fmla="*/ 1909832 w 2205395"/>
                <a:gd name="connsiteY7" fmla="*/ 3353604 h 3648164"/>
                <a:gd name="connsiteX8" fmla="*/ 2205396 w 2205395"/>
                <a:gd name="connsiteY8" fmla="*/ 2640586 h 3648164"/>
                <a:gd name="connsiteX9" fmla="*/ 2205396 w 2205395"/>
                <a:gd name="connsiteY9" fmla="*/ 0 h 3648164"/>
                <a:gd name="connsiteX10" fmla="*/ 2046278 w 2205395"/>
                <a:gd name="connsiteY10" fmla="*/ 194589 h 3648164"/>
                <a:gd name="connsiteX11" fmla="*/ 122392 w 2205395"/>
                <a:gd name="connsiteY11" fmla="*/ 2091789 h 3648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5395" h="3648164">
                  <a:moveTo>
                    <a:pt x="122475" y="2091789"/>
                  </a:moveTo>
                  <a:lnTo>
                    <a:pt x="119799" y="2094382"/>
                  </a:lnTo>
                  <a:lnTo>
                    <a:pt x="0" y="2212424"/>
                  </a:lnTo>
                  <a:lnTo>
                    <a:pt x="0" y="2640586"/>
                  </a:lnTo>
                  <a:cubicBezTo>
                    <a:pt x="0" y="2916992"/>
                    <a:pt x="106245" y="3170226"/>
                    <a:pt x="299078" y="3353521"/>
                  </a:cubicBezTo>
                  <a:cubicBezTo>
                    <a:pt x="299078" y="3353521"/>
                    <a:pt x="299078" y="3353521"/>
                    <a:pt x="299078" y="3353521"/>
                  </a:cubicBezTo>
                  <a:cubicBezTo>
                    <a:pt x="501865" y="3546269"/>
                    <a:pt x="779777" y="3648165"/>
                    <a:pt x="1102698" y="3648165"/>
                  </a:cubicBezTo>
                  <a:cubicBezTo>
                    <a:pt x="1425618" y="3648165"/>
                    <a:pt x="1708383" y="3546269"/>
                    <a:pt x="1909832" y="3353604"/>
                  </a:cubicBezTo>
                  <a:cubicBezTo>
                    <a:pt x="2100405" y="3171313"/>
                    <a:pt x="2205396" y="2918080"/>
                    <a:pt x="2205396" y="2640586"/>
                  </a:cubicBezTo>
                  <a:lnTo>
                    <a:pt x="2205396" y="0"/>
                  </a:lnTo>
                  <a:cubicBezTo>
                    <a:pt x="2159551" y="69855"/>
                    <a:pt x="2106428" y="135192"/>
                    <a:pt x="2046278" y="194589"/>
                  </a:cubicBezTo>
                  <a:lnTo>
                    <a:pt x="122392" y="2091789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DF67168-FDE3-FD6D-6AD7-F1E0A344C9B4}"/>
                </a:ext>
              </a:extLst>
            </p:cNvPr>
            <p:cNvSpPr/>
            <p:nvPr/>
          </p:nvSpPr>
          <p:spPr>
            <a:xfrm>
              <a:off x="-1666533" y="1531407"/>
              <a:ext cx="3142974" cy="4573340"/>
            </a:xfrm>
            <a:custGeom>
              <a:avLst/>
              <a:gdLst>
                <a:gd name="connsiteX0" fmla="*/ 2681349 w 3142974"/>
                <a:gd name="connsiteY0" fmla="*/ 455268 h 4573340"/>
                <a:gd name="connsiteX1" fmla="*/ 257772 w 3142974"/>
                <a:gd name="connsiteY1" fmla="*/ 2845465 h 4573340"/>
                <a:gd name="connsiteX2" fmla="*/ 3200 w 3142974"/>
                <a:gd name="connsiteY2" fmla="*/ 3536063 h 4573340"/>
                <a:gd name="connsiteX3" fmla="*/ 340008 w 3142974"/>
                <a:gd name="connsiteY3" fmla="*/ 4234608 h 4573340"/>
                <a:gd name="connsiteX4" fmla="*/ 1096780 w 3142974"/>
                <a:gd name="connsiteY4" fmla="*/ 4573341 h 4573340"/>
                <a:gd name="connsiteX5" fmla="*/ 1805364 w 3142974"/>
                <a:gd name="connsiteY5" fmla="*/ 4282712 h 4573340"/>
                <a:gd name="connsiteX6" fmla="*/ 3112774 w 3142974"/>
                <a:gd name="connsiteY6" fmla="*/ 2993289 h 4573340"/>
                <a:gd name="connsiteX7" fmla="*/ 3112774 w 3142974"/>
                <a:gd name="connsiteY7" fmla="*/ 266200 h 4573340"/>
                <a:gd name="connsiteX8" fmla="*/ 3142975 w 3142974"/>
                <a:gd name="connsiteY8" fmla="*/ 0 h 4573340"/>
                <a:gd name="connsiteX9" fmla="*/ 2681349 w 3142974"/>
                <a:gd name="connsiteY9" fmla="*/ 455268 h 457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2974" h="4573340">
                  <a:moveTo>
                    <a:pt x="2681349" y="455268"/>
                  </a:moveTo>
                  <a:lnTo>
                    <a:pt x="257772" y="2845465"/>
                  </a:lnTo>
                  <a:cubicBezTo>
                    <a:pt x="71800" y="3028843"/>
                    <a:pt x="-18634" y="3274129"/>
                    <a:pt x="3200" y="3536063"/>
                  </a:cubicBezTo>
                  <a:cubicBezTo>
                    <a:pt x="24199" y="3787623"/>
                    <a:pt x="143830" y="4035669"/>
                    <a:pt x="340008" y="4234608"/>
                  </a:cubicBezTo>
                  <a:cubicBezTo>
                    <a:pt x="542879" y="4440324"/>
                    <a:pt x="839949" y="4573341"/>
                    <a:pt x="1096780" y="4573341"/>
                  </a:cubicBezTo>
                  <a:cubicBezTo>
                    <a:pt x="1353610" y="4573341"/>
                    <a:pt x="1615377" y="4470106"/>
                    <a:pt x="1805364" y="4282712"/>
                  </a:cubicBezTo>
                  <a:lnTo>
                    <a:pt x="3112774" y="2993289"/>
                  </a:lnTo>
                  <a:lnTo>
                    <a:pt x="3112774" y="266200"/>
                  </a:lnTo>
                  <a:cubicBezTo>
                    <a:pt x="3112774" y="175849"/>
                    <a:pt x="3123231" y="86753"/>
                    <a:pt x="3142975" y="0"/>
                  </a:cubicBezTo>
                  <a:lnTo>
                    <a:pt x="2681349" y="455268"/>
                  </a:lnTo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52B031F-0829-91A6-F917-AB580236909E}"/>
                </a:ext>
              </a:extLst>
            </p:cNvPr>
            <p:cNvSpPr/>
            <p:nvPr/>
          </p:nvSpPr>
          <p:spPr>
            <a:xfrm>
              <a:off x="1620751" y="770286"/>
              <a:ext cx="5439118" cy="5334462"/>
            </a:xfrm>
            <a:custGeom>
              <a:avLst/>
              <a:gdLst>
                <a:gd name="connsiteX0" fmla="*/ 4810009 w 5439118"/>
                <a:gd name="connsiteY0" fmla="*/ 82403 h 5334462"/>
                <a:gd name="connsiteX1" fmla="*/ 4405355 w 5439118"/>
                <a:gd name="connsiteY1" fmla="*/ 0 h 5334462"/>
                <a:gd name="connsiteX2" fmla="*/ 3698192 w 5439118"/>
                <a:gd name="connsiteY2" fmla="*/ 297990 h 5334462"/>
                <a:gd name="connsiteX3" fmla="*/ 2307292 w 5439118"/>
                <a:gd name="connsiteY3" fmla="*/ 1669566 h 5334462"/>
                <a:gd name="connsiteX4" fmla="*/ 2297504 w 5439118"/>
                <a:gd name="connsiteY4" fmla="*/ 1676677 h 5334462"/>
                <a:gd name="connsiteX5" fmla="*/ 2172017 w 5439118"/>
                <a:gd name="connsiteY5" fmla="*/ 1800407 h 5334462"/>
                <a:gd name="connsiteX6" fmla="*/ 2172017 w 5439118"/>
                <a:gd name="connsiteY6" fmla="*/ 1027322 h 5334462"/>
                <a:gd name="connsiteX7" fmla="*/ 1542991 w 5439118"/>
                <a:gd name="connsiteY7" fmla="*/ 82403 h 5334462"/>
                <a:gd name="connsiteX8" fmla="*/ 1114159 w 5439118"/>
                <a:gd name="connsiteY8" fmla="*/ 3012 h 5334462"/>
                <a:gd name="connsiteX9" fmla="*/ 358977 w 5439118"/>
                <a:gd name="connsiteY9" fmla="*/ 244700 h 5334462"/>
                <a:gd name="connsiteX10" fmla="*/ 353288 w 5439118"/>
                <a:gd name="connsiteY10" fmla="*/ 249469 h 5334462"/>
                <a:gd name="connsiteX11" fmla="*/ 353288 w 5439118"/>
                <a:gd name="connsiteY11" fmla="*/ 249469 h 5334462"/>
                <a:gd name="connsiteX12" fmla="*/ 192079 w 5439118"/>
                <a:gd name="connsiteY12" fmla="*/ 429334 h 5334462"/>
                <a:gd name="connsiteX13" fmla="*/ 0 w 5439118"/>
                <a:gd name="connsiteY13" fmla="*/ 1027238 h 5334462"/>
                <a:gd name="connsiteX14" fmla="*/ 0 w 5439118"/>
                <a:gd name="connsiteY14" fmla="*/ 4261797 h 5334462"/>
                <a:gd name="connsiteX15" fmla="*/ 474760 w 5439118"/>
                <a:gd name="connsiteY15" fmla="*/ 5125986 h 5334462"/>
                <a:gd name="connsiteX16" fmla="*/ 1104622 w 5439118"/>
                <a:gd name="connsiteY16" fmla="*/ 5334462 h 5334462"/>
                <a:gd name="connsiteX17" fmla="*/ 1807434 w 5439118"/>
                <a:gd name="connsiteY17" fmla="*/ 5037141 h 5334462"/>
                <a:gd name="connsiteX18" fmla="*/ 3210130 w 5439118"/>
                <a:gd name="connsiteY18" fmla="*/ 3653937 h 5334462"/>
                <a:gd name="connsiteX19" fmla="*/ 3210130 w 5439118"/>
                <a:gd name="connsiteY19" fmla="*/ 3656530 h 5334462"/>
                <a:gd name="connsiteX20" fmla="*/ 3212808 w 5439118"/>
                <a:gd name="connsiteY20" fmla="*/ 3653937 h 5334462"/>
                <a:gd name="connsiteX21" fmla="*/ 5136694 w 5439118"/>
                <a:gd name="connsiteY21" fmla="*/ 1756738 h 5334462"/>
                <a:gd name="connsiteX22" fmla="*/ 5418287 w 5439118"/>
                <a:gd name="connsiteY22" fmla="*/ 1240316 h 5334462"/>
                <a:gd name="connsiteX23" fmla="*/ 5439118 w 5439118"/>
                <a:gd name="connsiteY23" fmla="*/ 1097428 h 5334462"/>
                <a:gd name="connsiteX24" fmla="*/ 5439118 w 5439118"/>
                <a:gd name="connsiteY24" fmla="*/ 1027406 h 5334462"/>
                <a:gd name="connsiteX25" fmla="*/ 4810093 w 5439118"/>
                <a:gd name="connsiteY25" fmla="*/ 82487 h 533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9118" h="5334462">
                  <a:moveTo>
                    <a:pt x="4810009" y="82403"/>
                  </a:moveTo>
                  <a:cubicBezTo>
                    <a:pt x="4663524" y="23424"/>
                    <a:pt x="4528081" y="0"/>
                    <a:pt x="4405355" y="0"/>
                  </a:cubicBezTo>
                  <a:cubicBezTo>
                    <a:pt x="4048803" y="0"/>
                    <a:pt x="3799670" y="197935"/>
                    <a:pt x="3698192" y="297990"/>
                  </a:cubicBezTo>
                  <a:lnTo>
                    <a:pt x="2307292" y="1669566"/>
                  </a:lnTo>
                  <a:cubicBezTo>
                    <a:pt x="2304280" y="1672577"/>
                    <a:pt x="2300767" y="1674334"/>
                    <a:pt x="2297504" y="1676677"/>
                  </a:cubicBezTo>
                  <a:lnTo>
                    <a:pt x="2172017" y="1800407"/>
                  </a:lnTo>
                  <a:lnTo>
                    <a:pt x="2172017" y="1027322"/>
                  </a:lnTo>
                  <a:cubicBezTo>
                    <a:pt x="2172017" y="614302"/>
                    <a:pt x="1923970" y="241772"/>
                    <a:pt x="1542991" y="82403"/>
                  </a:cubicBezTo>
                  <a:cubicBezTo>
                    <a:pt x="1415329" y="29029"/>
                    <a:pt x="1266585" y="3012"/>
                    <a:pt x="1114159" y="3012"/>
                  </a:cubicBezTo>
                  <a:cubicBezTo>
                    <a:pt x="840848" y="3012"/>
                    <a:pt x="555657" y="86419"/>
                    <a:pt x="358977" y="244700"/>
                  </a:cubicBezTo>
                  <a:cubicBezTo>
                    <a:pt x="357137" y="246290"/>
                    <a:pt x="355129" y="247879"/>
                    <a:pt x="353288" y="249469"/>
                  </a:cubicBezTo>
                  <a:cubicBezTo>
                    <a:pt x="353288" y="249469"/>
                    <a:pt x="353288" y="249469"/>
                    <a:pt x="353288" y="249469"/>
                  </a:cubicBezTo>
                  <a:cubicBezTo>
                    <a:pt x="292302" y="303512"/>
                    <a:pt x="238509" y="363997"/>
                    <a:pt x="192079" y="429334"/>
                  </a:cubicBezTo>
                  <a:cubicBezTo>
                    <a:pt x="69353" y="601920"/>
                    <a:pt x="0" y="809225"/>
                    <a:pt x="0" y="1027238"/>
                  </a:cubicBezTo>
                  <a:lnTo>
                    <a:pt x="0" y="4261797"/>
                  </a:lnTo>
                  <a:cubicBezTo>
                    <a:pt x="0" y="4625208"/>
                    <a:pt x="189402" y="4944197"/>
                    <a:pt x="474760" y="5125986"/>
                  </a:cubicBezTo>
                  <a:cubicBezTo>
                    <a:pt x="706159" y="5278913"/>
                    <a:pt x="918650" y="5334462"/>
                    <a:pt x="1104622" y="5334462"/>
                  </a:cubicBezTo>
                  <a:cubicBezTo>
                    <a:pt x="1440426" y="5334462"/>
                    <a:pt x="1689643" y="5153342"/>
                    <a:pt x="1807434" y="5037141"/>
                  </a:cubicBezTo>
                  <a:lnTo>
                    <a:pt x="3210130" y="3653937"/>
                  </a:lnTo>
                  <a:lnTo>
                    <a:pt x="3210130" y="3656530"/>
                  </a:lnTo>
                  <a:lnTo>
                    <a:pt x="3212808" y="3653937"/>
                  </a:lnTo>
                  <a:lnTo>
                    <a:pt x="5136694" y="1756738"/>
                  </a:lnTo>
                  <a:cubicBezTo>
                    <a:pt x="5285021" y="1610503"/>
                    <a:pt x="5378215" y="1429969"/>
                    <a:pt x="5418287" y="1240316"/>
                  </a:cubicBezTo>
                  <a:cubicBezTo>
                    <a:pt x="5428243" y="1193049"/>
                    <a:pt x="5435855" y="1145447"/>
                    <a:pt x="5439118" y="1097428"/>
                  </a:cubicBezTo>
                  <a:lnTo>
                    <a:pt x="5439118" y="1027406"/>
                  </a:lnTo>
                  <a:cubicBezTo>
                    <a:pt x="5439118" y="614469"/>
                    <a:pt x="5193247" y="236669"/>
                    <a:pt x="4810093" y="82487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48308" y="1886179"/>
            <a:ext cx="2666156" cy="9140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  <a:solidFill>
            <a:schemeClr val="bg2"/>
          </a:solidFill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48308" y="2923601"/>
            <a:ext cx="2666156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E38CB365-0219-E63F-74AC-2AE8262C7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486" y="196013"/>
            <a:ext cx="57115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A21C1FD-CED0-55D4-C214-0521DB22D65F}"/>
              </a:ext>
            </a:extLst>
          </p:cNvPr>
          <p:cNvSpPr/>
          <p:nvPr userDrawn="1"/>
        </p:nvSpPr>
        <p:spPr>
          <a:xfrm>
            <a:off x="465634" y="1027011"/>
            <a:ext cx="341610" cy="41695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A946105-8CDA-21E6-4DE5-DA7333D23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F4EA90B-593C-E145-1538-54C0154EB96C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2"/>
                </a:solidFill>
              </a:rPr>
              <a:t>‹N°›</a:t>
            </a:fld>
            <a:endParaRPr lang="fr-FR" sz="525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191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CF6BC80-84E1-3DC4-E3C5-665D67B5C15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3A3AFE2-A49B-D35E-80C0-F9D1A9AABD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888" y="3115200"/>
            <a:ext cx="5914639" cy="121879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80000"/>
              </a:lnSpc>
              <a:spcBef>
                <a:spcPts val="0"/>
              </a:spcBef>
              <a:buNone/>
              <a:defRPr lang="en-US" sz="495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1F70DF3-A233-9BE4-DC7E-FA9148E5C56B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59798CA-9A4D-3E52-084A-D76FE21044CA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rgbClr val="005CA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7A452C6-57A2-B38D-5138-B026F72B0984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rgbClr val="005CA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214390A-CE77-320C-F26C-D3118633017D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rgbClr val="00B3D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</p:grp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7974B8A-E2C4-284C-13E4-FEB92F9F25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5FE5C8A-89AE-94B0-33FD-A7C5D951F8B9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2"/>
                </a:solidFill>
              </a:rPr>
              <a:t>‹N°›</a:t>
            </a:fld>
            <a:endParaRPr lang="fr-FR" sz="525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1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C108CAE9-20DA-D12A-1813-CF19EF5FBDB1}"/>
              </a:ext>
            </a:extLst>
          </p:cNvPr>
          <p:cNvGrpSpPr/>
          <p:nvPr userDrawn="1"/>
        </p:nvGrpSpPr>
        <p:grpSpPr>
          <a:xfrm>
            <a:off x="-616125" y="-1959990"/>
            <a:ext cx="6740501" cy="4120478"/>
            <a:chOff x="-821499" y="-2613320"/>
            <a:chExt cx="8987334" cy="5493971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46F2D55-F6E3-4E74-83EF-658794E60D75}"/>
                </a:ext>
              </a:extLst>
            </p:cNvPr>
            <p:cNvSpPr/>
            <p:nvPr/>
          </p:nvSpPr>
          <p:spPr>
            <a:xfrm>
              <a:off x="5872783" y="-876686"/>
              <a:ext cx="2271340" cy="3757250"/>
            </a:xfrm>
            <a:custGeom>
              <a:avLst/>
              <a:gdLst>
                <a:gd name="connsiteX0" fmla="*/ 126137 w 2271340"/>
                <a:gd name="connsiteY0" fmla="*/ 2154336 h 3757250"/>
                <a:gd name="connsiteX1" fmla="*/ 123381 w 2271340"/>
                <a:gd name="connsiteY1" fmla="*/ 2157007 h 3757250"/>
                <a:gd name="connsiteX2" fmla="*/ 0 w 2271340"/>
                <a:gd name="connsiteY2" fmla="*/ 2278578 h 3757250"/>
                <a:gd name="connsiteX3" fmla="*/ 0 w 2271340"/>
                <a:gd name="connsiteY3" fmla="*/ 2719544 h 3757250"/>
                <a:gd name="connsiteX4" fmla="*/ 308021 w 2271340"/>
                <a:gd name="connsiteY4" fmla="*/ 3453796 h 3757250"/>
                <a:gd name="connsiteX5" fmla="*/ 308021 w 2271340"/>
                <a:gd name="connsiteY5" fmla="*/ 3453796 h 3757250"/>
                <a:gd name="connsiteX6" fmla="*/ 1135670 w 2271340"/>
                <a:gd name="connsiteY6" fmla="*/ 3757251 h 3757250"/>
                <a:gd name="connsiteX7" fmla="*/ 1966939 w 2271340"/>
                <a:gd name="connsiteY7" fmla="*/ 3453882 h 3757250"/>
                <a:gd name="connsiteX8" fmla="*/ 2271340 w 2271340"/>
                <a:gd name="connsiteY8" fmla="*/ 2719544 h 3757250"/>
                <a:gd name="connsiteX9" fmla="*/ 2271340 w 2271340"/>
                <a:gd name="connsiteY9" fmla="*/ 0 h 3757250"/>
                <a:gd name="connsiteX10" fmla="*/ 2107465 w 2271340"/>
                <a:gd name="connsiteY10" fmla="*/ 200407 h 3757250"/>
                <a:gd name="connsiteX11" fmla="*/ 126052 w 2271340"/>
                <a:gd name="connsiteY11" fmla="*/ 2154336 h 37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1340" h="3757250">
                  <a:moveTo>
                    <a:pt x="126137" y="2154336"/>
                  </a:moveTo>
                  <a:lnTo>
                    <a:pt x="123381" y="2157007"/>
                  </a:lnTo>
                  <a:lnTo>
                    <a:pt x="0" y="2278578"/>
                  </a:lnTo>
                  <a:lnTo>
                    <a:pt x="0" y="2719544"/>
                  </a:lnTo>
                  <a:cubicBezTo>
                    <a:pt x="0" y="3004215"/>
                    <a:pt x="109422" y="3265020"/>
                    <a:pt x="308021" y="3453796"/>
                  </a:cubicBezTo>
                  <a:cubicBezTo>
                    <a:pt x="308021" y="3453796"/>
                    <a:pt x="308021" y="3453796"/>
                    <a:pt x="308021" y="3453796"/>
                  </a:cubicBezTo>
                  <a:cubicBezTo>
                    <a:pt x="516872" y="3652308"/>
                    <a:pt x="803094" y="3757251"/>
                    <a:pt x="1135670" y="3757251"/>
                  </a:cubicBezTo>
                  <a:cubicBezTo>
                    <a:pt x="1468247" y="3757251"/>
                    <a:pt x="1759466" y="3652308"/>
                    <a:pt x="1966939" y="3453882"/>
                  </a:cubicBezTo>
                  <a:cubicBezTo>
                    <a:pt x="2163211" y="3266140"/>
                    <a:pt x="2271340" y="3005335"/>
                    <a:pt x="2271340" y="2719544"/>
                  </a:cubicBezTo>
                  <a:lnTo>
                    <a:pt x="2271340" y="0"/>
                  </a:lnTo>
                  <a:cubicBezTo>
                    <a:pt x="2224125" y="71943"/>
                    <a:pt x="2169414" y="139234"/>
                    <a:pt x="2107465" y="200407"/>
                  </a:cubicBezTo>
                  <a:lnTo>
                    <a:pt x="126052" y="2154336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E4E81F-431D-8904-0D4F-46920B3824DD}"/>
                </a:ext>
              </a:extLst>
            </p:cNvPr>
            <p:cNvSpPr/>
            <p:nvPr/>
          </p:nvSpPr>
          <p:spPr>
            <a:xfrm>
              <a:off x="-821499" y="-1829439"/>
              <a:ext cx="3236954" cy="4710090"/>
            </a:xfrm>
            <a:custGeom>
              <a:avLst/>
              <a:gdLst>
                <a:gd name="connsiteX0" fmla="*/ 3205851 w 3236954"/>
                <a:gd name="connsiteY0" fmla="*/ 274160 h 4710090"/>
                <a:gd name="connsiteX1" fmla="*/ 3236954 w 3236954"/>
                <a:gd name="connsiteY1" fmla="*/ 0 h 4710090"/>
                <a:gd name="connsiteX2" fmla="*/ 265480 w 3236954"/>
                <a:gd name="connsiteY2" fmla="*/ 2930548 h 4710090"/>
                <a:gd name="connsiteX3" fmla="*/ 3296 w 3236954"/>
                <a:gd name="connsiteY3" fmla="*/ 3641796 h 4710090"/>
                <a:gd name="connsiteX4" fmla="*/ 350175 w 3236954"/>
                <a:gd name="connsiteY4" fmla="*/ 4361229 h 4710090"/>
                <a:gd name="connsiteX5" fmla="*/ 1129575 w 3236954"/>
                <a:gd name="connsiteY5" fmla="*/ 4710090 h 4710090"/>
                <a:gd name="connsiteX6" fmla="*/ 1859348 w 3236954"/>
                <a:gd name="connsiteY6" fmla="*/ 4410771 h 4710090"/>
                <a:gd name="connsiteX7" fmla="*/ 3205851 w 3236954"/>
                <a:gd name="connsiteY7" fmla="*/ 3082793 h 4710090"/>
                <a:gd name="connsiteX8" fmla="*/ 3205851 w 3236954"/>
                <a:gd name="connsiteY8" fmla="*/ 274160 h 471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6954" h="4710090">
                  <a:moveTo>
                    <a:pt x="3205851" y="274160"/>
                  </a:moveTo>
                  <a:cubicBezTo>
                    <a:pt x="3205851" y="181108"/>
                    <a:pt x="3216621" y="89348"/>
                    <a:pt x="3236954" y="0"/>
                  </a:cubicBezTo>
                  <a:lnTo>
                    <a:pt x="265480" y="2930548"/>
                  </a:lnTo>
                  <a:cubicBezTo>
                    <a:pt x="73947" y="3119410"/>
                    <a:pt x="-19192" y="3372031"/>
                    <a:pt x="3296" y="3641796"/>
                  </a:cubicBezTo>
                  <a:cubicBezTo>
                    <a:pt x="24922" y="3900878"/>
                    <a:pt x="148131" y="4156342"/>
                    <a:pt x="350175" y="4361229"/>
                  </a:cubicBezTo>
                  <a:cubicBezTo>
                    <a:pt x="559112" y="4573096"/>
                    <a:pt x="865065" y="4710090"/>
                    <a:pt x="1129575" y="4710090"/>
                  </a:cubicBezTo>
                  <a:cubicBezTo>
                    <a:pt x="1394085" y="4710090"/>
                    <a:pt x="1663679" y="4603769"/>
                    <a:pt x="1859348" y="4410771"/>
                  </a:cubicBezTo>
                  <a:lnTo>
                    <a:pt x="3205851" y="3082793"/>
                  </a:lnTo>
                  <a:lnTo>
                    <a:pt x="3205851" y="274160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7D664BE-D760-8A14-3009-73D859094AC8}"/>
                </a:ext>
              </a:extLst>
            </p:cNvPr>
            <p:cNvSpPr/>
            <p:nvPr/>
          </p:nvSpPr>
          <p:spPr>
            <a:xfrm>
              <a:off x="2564080" y="-2613320"/>
              <a:ext cx="5601755" cy="5493970"/>
            </a:xfrm>
            <a:custGeom>
              <a:avLst/>
              <a:gdLst>
                <a:gd name="connsiteX0" fmla="*/ 4953836 w 5601755"/>
                <a:gd name="connsiteY0" fmla="*/ 84867 h 5493970"/>
                <a:gd name="connsiteX1" fmla="*/ 4537082 w 5601755"/>
                <a:gd name="connsiteY1" fmla="*/ 0 h 5493970"/>
                <a:gd name="connsiteX2" fmla="*/ 3808774 w 5601755"/>
                <a:gd name="connsiteY2" fmla="*/ 306901 h 5493970"/>
                <a:gd name="connsiteX3" fmla="*/ 2376283 w 5601755"/>
                <a:gd name="connsiteY3" fmla="*/ 1719488 h 5493970"/>
                <a:gd name="connsiteX4" fmla="*/ 2366203 w 5601755"/>
                <a:gd name="connsiteY4" fmla="*/ 1726812 h 5493970"/>
                <a:gd name="connsiteX5" fmla="*/ 2236963 w 5601755"/>
                <a:gd name="connsiteY5" fmla="*/ 1854242 h 5493970"/>
                <a:gd name="connsiteX6" fmla="*/ 2236963 w 5601755"/>
                <a:gd name="connsiteY6" fmla="*/ 1058041 h 5493970"/>
                <a:gd name="connsiteX7" fmla="*/ 1589129 w 5601755"/>
                <a:gd name="connsiteY7" fmla="*/ 84867 h 5493970"/>
                <a:gd name="connsiteX8" fmla="*/ 1147474 w 5601755"/>
                <a:gd name="connsiteY8" fmla="*/ 3102 h 5493970"/>
                <a:gd name="connsiteX9" fmla="*/ 369711 w 5601755"/>
                <a:gd name="connsiteY9" fmla="*/ 252017 h 5493970"/>
                <a:gd name="connsiteX10" fmla="*/ 363852 w 5601755"/>
                <a:gd name="connsiteY10" fmla="*/ 256928 h 5493970"/>
                <a:gd name="connsiteX11" fmla="*/ 363852 w 5601755"/>
                <a:gd name="connsiteY11" fmla="*/ 256928 h 5493970"/>
                <a:gd name="connsiteX12" fmla="*/ 197823 w 5601755"/>
                <a:gd name="connsiteY12" fmla="*/ 442171 h 5493970"/>
                <a:gd name="connsiteX13" fmla="*/ 0 w 5601755"/>
                <a:gd name="connsiteY13" fmla="*/ 1057954 h 5493970"/>
                <a:gd name="connsiteX14" fmla="*/ 0 w 5601755"/>
                <a:gd name="connsiteY14" fmla="*/ 4389232 h 5493970"/>
                <a:gd name="connsiteX15" fmla="*/ 488956 w 5601755"/>
                <a:gd name="connsiteY15" fmla="*/ 5279261 h 5493970"/>
                <a:gd name="connsiteX16" fmla="*/ 1137652 w 5601755"/>
                <a:gd name="connsiteY16" fmla="*/ 5493971 h 5493970"/>
                <a:gd name="connsiteX17" fmla="*/ 1861479 w 5601755"/>
                <a:gd name="connsiteY17" fmla="*/ 5187759 h 5493970"/>
                <a:gd name="connsiteX18" fmla="*/ 3306118 w 5601755"/>
                <a:gd name="connsiteY18" fmla="*/ 3763195 h 5493970"/>
                <a:gd name="connsiteX19" fmla="*/ 3306118 w 5601755"/>
                <a:gd name="connsiteY19" fmla="*/ 3765866 h 5493970"/>
                <a:gd name="connsiteX20" fmla="*/ 3308875 w 5601755"/>
                <a:gd name="connsiteY20" fmla="*/ 3763195 h 5493970"/>
                <a:gd name="connsiteX21" fmla="*/ 5290289 w 5601755"/>
                <a:gd name="connsiteY21" fmla="*/ 1809267 h 5493970"/>
                <a:gd name="connsiteX22" fmla="*/ 5580302 w 5601755"/>
                <a:gd name="connsiteY22" fmla="*/ 1277403 h 5493970"/>
                <a:gd name="connsiteX23" fmla="*/ 5601756 w 5601755"/>
                <a:gd name="connsiteY23" fmla="*/ 1130242 h 5493970"/>
                <a:gd name="connsiteX24" fmla="*/ 5601756 w 5601755"/>
                <a:gd name="connsiteY24" fmla="*/ 1058127 h 5493970"/>
                <a:gd name="connsiteX25" fmla="*/ 4953922 w 5601755"/>
                <a:gd name="connsiteY25" fmla="*/ 84953 h 54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601755" h="5493970">
                  <a:moveTo>
                    <a:pt x="4953836" y="84867"/>
                  </a:moveTo>
                  <a:cubicBezTo>
                    <a:pt x="4802970" y="24125"/>
                    <a:pt x="4663478" y="0"/>
                    <a:pt x="4537082" y="0"/>
                  </a:cubicBezTo>
                  <a:cubicBezTo>
                    <a:pt x="4169869" y="0"/>
                    <a:pt x="3913286" y="203854"/>
                    <a:pt x="3808774" y="306901"/>
                  </a:cubicBezTo>
                  <a:lnTo>
                    <a:pt x="2376283" y="1719488"/>
                  </a:lnTo>
                  <a:cubicBezTo>
                    <a:pt x="2373182" y="1722590"/>
                    <a:pt x="2369563" y="1724399"/>
                    <a:pt x="2366203" y="1726812"/>
                  </a:cubicBezTo>
                  <a:lnTo>
                    <a:pt x="2236963" y="1854242"/>
                  </a:lnTo>
                  <a:lnTo>
                    <a:pt x="2236963" y="1058041"/>
                  </a:lnTo>
                  <a:cubicBezTo>
                    <a:pt x="2236963" y="632670"/>
                    <a:pt x="1981500" y="249001"/>
                    <a:pt x="1589129" y="84867"/>
                  </a:cubicBezTo>
                  <a:cubicBezTo>
                    <a:pt x="1457649" y="29897"/>
                    <a:pt x="1304457" y="3102"/>
                    <a:pt x="1147474" y="3102"/>
                  </a:cubicBezTo>
                  <a:cubicBezTo>
                    <a:pt x="865991" y="3102"/>
                    <a:pt x="572272" y="89003"/>
                    <a:pt x="369711" y="252017"/>
                  </a:cubicBezTo>
                  <a:cubicBezTo>
                    <a:pt x="367816" y="253654"/>
                    <a:pt x="365748" y="255291"/>
                    <a:pt x="363852" y="256928"/>
                  </a:cubicBezTo>
                  <a:cubicBezTo>
                    <a:pt x="363852" y="256928"/>
                    <a:pt x="363852" y="256928"/>
                    <a:pt x="363852" y="256928"/>
                  </a:cubicBezTo>
                  <a:cubicBezTo>
                    <a:pt x="301042" y="312587"/>
                    <a:pt x="245641" y="374881"/>
                    <a:pt x="197823" y="442171"/>
                  </a:cubicBezTo>
                  <a:cubicBezTo>
                    <a:pt x="71426" y="619919"/>
                    <a:pt x="0" y="833422"/>
                    <a:pt x="0" y="1057954"/>
                  </a:cubicBezTo>
                  <a:lnTo>
                    <a:pt x="0" y="4389232"/>
                  </a:lnTo>
                  <a:cubicBezTo>
                    <a:pt x="0" y="4763509"/>
                    <a:pt x="195065" y="5092036"/>
                    <a:pt x="488956" y="5279261"/>
                  </a:cubicBezTo>
                  <a:cubicBezTo>
                    <a:pt x="727274" y="5436761"/>
                    <a:pt x="946119" y="5493971"/>
                    <a:pt x="1137652" y="5493971"/>
                  </a:cubicBezTo>
                  <a:cubicBezTo>
                    <a:pt x="1483497" y="5493971"/>
                    <a:pt x="1740166" y="5307435"/>
                    <a:pt x="1861479" y="5187759"/>
                  </a:cubicBezTo>
                  <a:lnTo>
                    <a:pt x="3306118" y="3763195"/>
                  </a:lnTo>
                  <a:lnTo>
                    <a:pt x="3306118" y="3765866"/>
                  </a:lnTo>
                  <a:lnTo>
                    <a:pt x="3308875" y="3763195"/>
                  </a:lnTo>
                  <a:lnTo>
                    <a:pt x="5290289" y="1809267"/>
                  </a:lnTo>
                  <a:cubicBezTo>
                    <a:pt x="5443051" y="1658660"/>
                    <a:pt x="5539032" y="1472727"/>
                    <a:pt x="5580302" y="1277403"/>
                  </a:cubicBezTo>
                  <a:cubicBezTo>
                    <a:pt x="5590556" y="1228723"/>
                    <a:pt x="5598396" y="1179698"/>
                    <a:pt x="5601756" y="1130242"/>
                  </a:cubicBezTo>
                  <a:lnTo>
                    <a:pt x="5601756" y="1058127"/>
                  </a:lnTo>
                  <a:cubicBezTo>
                    <a:pt x="5601756" y="632843"/>
                    <a:pt x="5348533" y="243746"/>
                    <a:pt x="4953922" y="84953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2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B3B635-7EA2-A7E5-AA2E-904A98654032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D71FC5-59E5-4DF4-A63B-4CDF83CD59CC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D0CD493-06B9-696D-823B-29CBE3D42A3F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146617-B1D7-1F52-7D19-4522461D2DC5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76AD106-991D-33CD-2395-949EFAF85341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672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54749D2-695D-3272-0A83-5C5E69241F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3EAA8BD-DBE0-C37D-6736-6DD494075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672" y="3584585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8219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62E33B6-E349-D93E-9F41-F21B9352D9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2786" y="1490629"/>
            <a:ext cx="3643744" cy="18524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91198E7-4307-9930-5706-315EF9268CAE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</p:spTree>
    <p:extLst>
      <p:ext uri="{BB962C8B-B14F-4D97-AF65-F5344CB8AC3E}">
        <p14:creationId xmlns:p14="http://schemas.microsoft.com/office/powerpoint/2010/main" val="428613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6FFB14-114A-5652-CE97-6669E506F5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3513586" cy="5143500"/>
          </a:xfrm>
          <a:custGeom>
            <a:avLst/>
            <a:gdLst>
              <a:gd name="connsiteX0" fmla="*/ 0 w 4684781"/>
              <a:gd name="connsiteY0" fmla="*/ 0 h 6858000"/>
              <a:gd name="connsiteX1" fmla="*/ 3641008 w 4684781"/>
              <a:gd name="connsiteY1" fmla="*/ 0 h 6858000"/>
              <a:gd name="connsiteX2" fmla="*/ 3791691 w 4684781"/>
              <a:gd name="connsiteY2" fmla="*/ 167298 h 6858000"/>
              <a:gd name="connsiteX3" fmla="*/ 3524126 w 4684781"/>
              <a:gd name="connsiteY3" fmla="*/ 5548346 h 6858000"/>
              <a:gd name="connsiteX4" fmla="*/ 2193069 w 4684781"/>
              <a:gd name="connsiteY4" fmla="*/ 6858000 h 6858000"/>
              <a:gd name="connsiteX5" fmla="*/ 0 w 4684781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4781" h="6858000">
                <a:moveTo>
                  <a:pt x="0" y="0"/>
                </a:moveTo>
                <a:lnTo>
                  <a:pt x="3641008" y="0"/>
                </a:lnTo>
                <a:lnTo>
                  <a:pt x="3791691" y="167298"/>
                </a:lnTo>
                <a:cubicBezTo>
                  <a:pt x="5018619" y="1639136"/>
                  <a:pt x="5029487" y="4039351"/>
                  <a:pt x="3524126" y="5548346"/>
                </a:cubicBezTo>
                <a:lnTo>
                  <a:pt x="219306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374E0BA-4D4C-BC3B-FEE0-1BA2B79769B3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  <a:solidFill>
            <a:schemeClr val="bg1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9760CDF-7C6B-1476-2349-7A2B0E9D7B3E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841558-8215-82EB-59E4-00C39B30BE61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92EECA-964D-B711-D9D2-D9E4064DFB1E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4BB8984A-7199-92B8-79F5-A51330034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3587" y="2160125"/>
            <a:ext cx="3794281" cy="9140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DDB51187-A0AE-DE21-AF3A-AB16123AF9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03587" y="3191709"/>
            <a:ext cx="379428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69B89A5-7CB0-A3D0-2696-4A04F0D4D7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03587" y="1151185"/>
            <a:ext cx="379428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B60FDE6-0609-6637-19F9-15BC9D7E1C1B}"/>
              </a:ext>
            </a:extLst>
          </p:cNvPr>
          <p:cNvSpPr/>
          <p:nvPr userDrawn="1"/>
        </p:nvSpPr>
        <p:spPr>
          <a:xfrm>
            <a:off x="3903586" y="3628914"/>
            <a:ext cx="391478" cy="342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schemeClr val="bg1"/>
              </a:solidFill>
            </a:endParaRP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45FEC2B-2043-F1E3-B8A7-3D1F7391A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4580341B-5308-6395-5728-BDEF57D85653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3"/>
                </a:solidFill>
              </a:rPr>
              <a:t>‹N°›</a:t>
            </a:fld>
            <a:endParaRPr lang="fr-FR" sz="525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6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74479A4-C938-9E02-C93B-F41AAEA4D82C}"/>
              </a:ext>
            </a:extLst>
          </p:cNvPr>
          <p:cNvGrpSpPr/>
          <p:nvPr userDrawn="1"/>
        </p:nvGrpSpPr>
        <p:grpSpPr>
          <a:xfrm>
            <a:off x="-1249900" y="577714"/>
            <a:ext cx="6544802" cy="4000847"/>
            <a:chOff x="-1666533" y="770286"/>
            <a:chExt cx="8726402" cy="5334462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39F2CCA5-3E58-65F1-9130-3A1A12A9F981}"/>
                </a:ext>
              </a:extLst>
            </p:cNvPr>
            <p:cNvSpPr/>
            <p:nvPr/>
          </p:nvSpPr>
          <p:spPr>
            <a:xfrm>
              <a:off x="4833391" y="2456499"/>
              <a:ext cx="2205395" cy="3648164"/>
            </a:xfrm>
            <a:custGeom>
              <a:avLst/>
              <a:gdLst>
                <a:gd name="connsiteX0" fmla="*/ 122475 w 2205395"/>
                <a:gd name="connsiteY0" fmla="*/ 2091789 h 3648164"/>
                <a:gd name="connsiteX1" fmla="*/ 119799 w 2205395"/>
                <a:gd name="connsiteY1" fmla="*/ 2094382 h 3648164"/>
                <a:gd name="connsiteX2" fmla="*/ 0 w 2205395"/>
                <a:gd name="connsiteY2" fmla="*/ 2212424 h 3648164"/>
                <a:gd name="connsiteX3" fmla="*/ 0 w 2205395"/>
                <a:gd name="connsiteY3" fmla="*/ 2640586 h 3648164"/>
                <a:gd name="connsiteX4" fmla="*/ 299078 w 2205395"/>
                <a:gd name="connsiteY4" fmla="*/ 3353521 h 3648164"/>
                <a:gd name="connsiteX5" fmla="*/ 299078 w 2205395"/>
                <a:gd name="connsiteY5" fmla="*/ 3353521 h 3648164"/>
                <a:gd name="connsiteX6" fmla="*/ 1102698 w 2205395"/>
                <a:gd name="connsiteY6" fmla="*/ 3648165 h 3648164"/>
                <a:gd name="connsiteX7" fmla="*/ 1909832 w 2205395"/>
                <a:gd name="connsiteY7" fmla="*/ 3353604 h 3648164"/>
                <a:gd name="connsiteX8" fmla="*/ 2205396 w 2205395"/>
                <a:gd name="connsiteY8" fmla="*/ 2640586 h 3648164"/>
                <a:gd name="connsiteX9" fmla="*/ 2205396 w 2205395"/>
                <a:gd name="connsiteY9" fmla="*/ 0 h 3648164"/>
                <a:gd name="connsiteX10" fmla="*/ 2046278 w 2205395"/>
                <a:gd name="connsiteY10" fmla="*/ 194589 h 3648164"/>
                <a:gd name="connsiteX11" fmla="*/ 122392 w 2205395"/>
                <a:gd name="connsiteY11" fmla="*/ 2091789 h 3648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5395" h="3648164">
                  <a:moveTo>
                    <a:pt x="122475" y="2091789"/>
                  </a:moveTo>
                  <a:lnTo>
                    <a:pt x="119799" y="2094382"/>
                  </a:lnTo>
                  <a:lnTo>
                    <a:pt x="0" y="2212424"/>
                  </a:lnTo>
                  <a:lnTo>
                    <a:pt x="0" y="2640586"/>
                  </a:lnTo>
                  <a:cubicBezTo>
                    <a:pt x="0" y="2916992"/>
                    <a:pt x="106245" y="3170226"/>
                    <a:pt x="299078" y="3353521"/>
                  </a:cubicBezTo>
                  <a:cubicBezTo>
                    <a:pt x="299078" y="3353521"/>
                    <a:pt x="299078" y="3353521"/>
                    <a:pt x="299078" y="3353521"/>
                  </a:cubicBezTo>
                  <a:cubicBezTo>
                    <a:pt x="501865" y="3546269"/>
                    <a:pt x="779777" y="3648165"/>
                    <a:pt x="1102698" y="3648165"/>
                  </a:cubicBezTo>
                  <a:cubicBezTo>
                    <a:pt x="1425618" y="3648165"/>
                    <a:pt x="1708383" y="3546269"/>
                    <a:pt x="1909832" y="3353604"/>
                  </a:cubicBezTo>
                  <a:cubicBezTo>
                    <a:pt x="2100405" y="3171313"/>
                    <a:pt x="2205396" y="2918080"/>
                    <a:pt x="2205396" y="2640586"/>
                  </a:cubicBezTo>
                  <a:lnTo>
                    <a:pt x="2205396" y="0"/>
                  </a:lnTo>
                  <a:cubicBezTo>
                    <a:pt x="2159551" y="69855"/>
                    <a:pt x="2106428" y="135192"/>
                    <a:pt x="2046278" y="194589"/>
                  </a:cubicBezTo>
                  <a:lnTo>
                    <a:pt x="122392" y="2091789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BD9A5D33-B9A9-527D-292B-C2A340805DAB}"/>
                </a:ext>
              </a:extLst>
            </p:cNvPr>
            <p:cNvSpPr/>
            <p:nvPr/>
          </p:nvSpPr>
          <p:spPr>
            <a:xfrm>
              <a:off x="-1666533" y="1531407"/>
              <a:ext cx="3142974" cy="4573340"/>
            </a:xfrm>
            <a:custGeom>
              <a:avLst/>
              <a:gdLst>
                <a:gd name="connsiteX0" fmla="*/ 2681349 w 3142974"/>
                <a:gd name="connsiteY0" fmla="*/ 455268 h 4573340"/>
                <a:gd name="connsiteX1" fmla="*/ 257772 w 3142974"/>
                <a:gd name="connsiteY1" fmla="*/ 2845465 h 4573340"/>
                <a:gd name="connsiteX2" fmla="*/ 3200 w 3142974"/>
                <a:gd name="connsiteY2" fmla="*/ 3536063 h 4573340"/>
                <a:gd name="connsiteX3" fmla="*/ 340008 w 3142974"/>
                <a:gd name="connsiteY3" fmla="*/ 4234608 h 4573340"/>
                <a:gd name="connsiteX4" fmla="*/ 1096780 w 3142974"/>
                <a:gd name="connsiteY4" fmla="*/ 4573341 h 4573340"/>
                <a:gd name="connsiteX5" fmla="*/ 1805364 w 3142974"/>
                <a:gd name="connsiteY5" fmla="*/ 4282712 h 4573340"/>
                <a:gd name="connsiteX6" fmla="*/ 3112774 w 3142974"/>
                <a:gd name="connsiteY6" fmla="*/ 2993289 h 4573340"/>
                <a:gd name="connsiteX7" fmla="*/ 3112774 w 3142974"/>
                <a:gd name="connsiteY7" fmla="*/ 266200 h 4573340"/>
                <a:gd name="connsiteX8" fmla="*/ 3142975 w 3142974"/>
                <a:gd name="connsiteY8" fmla="*/ 0 h 4573340"/>
                <a:gd name="connsiteX9" fmla="*/ 2681349 w 3142974"/>
                <a:gd name="connsiteY9" fmla="*/ 455268 h 457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2974" h="4573340">
                  <a:moveTo>
                    <a:pt x="2681349" y="455268"/>
                  </a:moveTo>
                  <a:lnTo>
                    <a:pt x="257772" y="2845465"/>
                  </a:lnTo>
                  <a:cubicBezTo>
                    <a:pt x="71800" y="3028843"/>
                    <a:pt x="-18634" y="3274129"/>
                    <a:pt x="3200" y="3536063"/>
                  </a:cubicBezTo>
                  <a:cubicBezTo>
                    <a:pt x="24199" y="3787623"/>
                    <a:pt x="143830" y="4035669"/>
                    <a:pt x="340008" y="4234608"/>
                  </a:cubicBezTo>
                  <a:cubicBezTo>
                    <a:pt x="542879" y="4440324"/>
                    <a:pt x="839949" y="4573341"/>
                    <a:pt x="1096780" y="4573341"/>
                  </a:cubicBezTo>
                  <a:cubicBezTo>
                    <a:pt x="1353610" y="4573341"/>
                    <a:pt x="1615377" y="4470106"/>
                    <a:pt x="1805364" y="4282712"/>
                  </a:cubicBezTo>
                  <a:lnTo>
                    <a:pt x="3112774" y="2993289"/>
                  </a:lnTo>
                  <a:lnTo>
                    <a:pt x="3112774" y="266200"/>
                  </a:lnTo>
                  <a:cubicBezTo>
                    <a:pt x="3112774" y="175849"/>
                    <a:pt x="3123231" y="86753"/>
                    <a:pt x="3142975" y="0"/>
                  </a:cubicBezTo>
                  <a:lnTo>
                    <a:pt x="2681349" y="455268"/>
                  </a:lnTo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CA4893C-6F18-54D2-74C3-193BC05300A6}"/>
                </a:ext>
              </a:extLst>
            </p:cNvPr>
            <p:cNvSpPr/>
            <p:nvPr/>
          </p:nvSpPr>
          <p:spPr>
            <a:xfrm>
              <a:off x="1620751" y="770286"/>
              <a:ext cx="5439118" cy="5334462"/>
            </a:xfrm>
            <a:custGeom>
              <a:avLst/>
              <a:gdLst>
                <a:gd name="connsiteX0" fmla="*/ 4810009 w 5439118"/>
                <a:gd name="connsiteY0" fmla="*/ 82403 h 5334462"/>
                <a:gd name="connsiteX1" fmla="*/ 4405355 w 5439118"/>
                <a:gd name="connsiteY1" fmla="*/ 0 h 5334462"/>
                <a:gd name="connsiteX2" fmla="*/ 3698192 w 5439118"/>
                <a:gd name="connsiteY2" fmla="*/ 297990 h 5334462"/>
                <a:gd name="connsiteX3" fmla="*/ 2307292 w 5439118"/>
                <a:gd name="connsiteY3" fmla="*/ 1669566 h 5334462"/>
                <a:gd name="connsiteX4" fmla="*/ 2297504 w 5439118"/>
                <a:gd name="connsiteY4" fmla="*/ 1676677 h 5334462"/>
                <a:gd name="connsiteX5" fmla="*/ 2172017 w 5439118"/>
                <a:gd name="connsiteY5" fmla="*/ 1800407 h 5334462"/>
                <a:gd name="connsiteX6" fmla="*/ 2172017 w 5439118"/>
                <a:gd name="connsiteY6" fmla="*/ 1027322 h 5334462"/>
                <a:gd name="connsiteX7" fmla="*/ 1542991 w 5439118"/>
                <a:gd name="connsiteY7" fmla="*/ 82403 h 5334462"/>
                <a:gd name="connsiteX8" fmla="*/ 1114159 w 5439118"/>
                <a:gd name="connsiteY8" fmla="*/ 3012 h 5334462"/>
                <a:gd name="connsiteX9" fmla="*/ 358977 w 5439118"/>
                <a:gd name="connsiteY9" fmla="*/ 244700 h 5334462"/>
                <a:gd name="connsiteX10" fmla="*/ 353288 w 5439118"/>
                <a:gd name="connsiteY10" fmla="*/ 249469 h 5334462"/>
                <a:gd name="connsiteX11" fmla="*/ 353288 w 5439118"/>
                <a:gd name="connsiteY11" fmla="*/ 249469 h 5334462"/>
                <a:gd name="connsiteX12" fmla="*/ 192079 w 5439118"/>
                <a:gd name="connsiteY12" fmla="*/ 429334 h 5334462"/>
                <a:gd name="connsiteX13" fmla="*/ 0 w 5439118"/>
                <a:gd name="connsiteY13" fmla="*/ 1027238 h 5334462"/>
                <a:gd name="connsiteX14" fmla="*/ 0 w 5439118"/>
                <a:gd name="connsiteY14" fmla="*/ 4261797 h 5334462"/>
                <a:gd name="connsiteX15" fmla="*/ 474760 w 5439118"/>
                <a:gd name="connsiteY15" fmla="*/ 5125986 h 5334462"/>
                <a:gd name="connsiteX16" fmla="*/ 1104622 w 5439118"/>
                <a:gd name="connsiteY16" fmla="*/ 5334462 h 5334462"/>
                <a:gd name="connsiteX17" fmla="*/ 1807434 w 5439118"/>
                <a:gd name="connsiteY17" fmla="*/ 5037141 h 5334462"/>
                <a:gd name="connsiteX18" fmla="*/ 3210130 w 5439118"/>
                <a:gd name="connsiteY18" fmla="*/ 3653937 h 5334462"/>
                <a:gd name="connsiteX19" fmla="*/ 3210130 w 5439118"/>
                <a:gd name="connsiteY19" fmla="*/ 3656530 h 5334462"/>
                <a:gd name="connsiteX20" fmla="*/ 3212808 w 5439118"/>
                <a:gd name="connsiteY20" fmla="*/ 3653937 h 5334462"/>
                <a:gd name="connsiteX21" fmla="*/ 5136694 w 5439118"/>
                <a:gd name="connsiteY21" fmla="*/ 1756738 h 5334462"/>
                <a:gd name="connsiteX22" fmla="*/ 5418287 w 5439118"/>
                <a:gd name="connsiteY22" fmla="*/ 1240316 h 5334462"/>
                <a:gd name="connsiteX23" fmla="*/ 5439118 w 5439118"/>
                <a:gd name="connsiteY23" fmla="*/ 1097428 h 5334462"/>
                <a:gd name="connsiteX24" fmla="*/ 5439118 w 5439118"/>
                <a:gd name="connsiteY24" fmla="*/ 1027406 h 5334462"/>
                <a:gd name="connsiteX25" fmla="*/ 4810093 w 5439118"/>
                <a:gd name="connsiteY25" fmla="*/ 82487 h 533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9118" h="5334462">
                  <a:moveTo>
                    <a:pt x="4810009" y="82403"/>
                  </a:moveTo>
                  <a:cubicBezTo>
                    <a:pt x="4663524" y="23424"/>
                    <a:pt x="4528081" y="0"/>
                    <a:pt x="4405355" y="0"/>
                  </a:cubicBezTo>
                  <a:cubicBezTo>
                    <a:pt x="4048803" y="0"/>
                    <a:pt x="3799670" y="197935"/>
                    <a:pt x="3698192" y="297990"/>
                  </a:cubicBezTo>
                  <a:lnTo>
                    <a:pt x="2307292" y="1669566"/>
                  </a:lnTo>
                  <a:cubicBezTo>
                    <a:pt x="2304280" y="1672577"/>
                    <a:pt x="2300767" y="1674334"/>
                    <a:pt x="2297504" y="1676677"/>
                  </a:cubicBezTo>
                  <a:lnTo>
                    <a:pt x="2172017" y="1800407"/>
                  </a:lnTo>
                  <a:lnTo>
                    <a:pt x="2172017" y="1027322"/>
                  </a:lnTo>
                  <a:cubicBezTo>
                    <a:pt x="2172017" y="614302"/>
                    <a:pt x="1923970" y="241772"/>
                    <a:pt x="1542991" y="82403"/>
                  </a:cubicBezTo>
                  <a:cubicBezTo>
                    <a:pt x="1415329" y="29029"/>
                    <a:pt x="1266585" y="3012"/>
                    <a:pt x="1114159" y="3012"/>
                  </a:cubicBezTo>
                  <a:cubicBezTo>
                    <a:pt x="840848" y="3012"/>
                    <a:pt x="555657" y="86419"/>
                    <a:pt x="358977" y="244700"/>
                  </a:cubicBezTo>
                  <a:cubicBezTo>
                    <a:pt x="357137" y="246290"/>
                    <a:pt x="355129" y="247879"/>
                    <a:pt x="353288" y="249469"/>
                  </a:cubicBezTo>
                  <a:cubicBezTo>
                    <a:pt x="353288" y="249469"/>
                    <a:pt x="353288" y="249469"/>
                    <a:pt x="353288" y="249469"/>
                  </a:cubicBezTo>
                  <a:cubicBezTo>
                    <a:pt x="292302" y="303512"/>
                    <a:pt x="238509" y="363997"/>
                    <a:pt x="192079" y="429334"/>
                  </a:cubicBezTo>
                  <a:cubicBezTo>
                    <a:pt x="69353" y="601920"/>
                    <a:pt x="0" y="809225"/>
                    <a:pt x="0" y="1027238"/>
                  </a:cubicBezTo>
                  <a:lnTo>
                    <a:pt x="0" y="4261797"/>
                  </a:lnTo>
                  <a:cubicBezTo>
                    <a:pt x="0" y="4625208"/>
                    <a:pt x="189402" y="4944197"/>
                    <a:pt x="474760" y="5125986"/>
                  </a:cubicBezTo>
                  <a:cubicBezTo>
                    <a:pt x="706159" y="5278913"/>
                    <a:pt x="918650" y="5334462"/>
                    <a:pt x="1104622" y="5334462"/>
                  </a:cubicBezTo>
                  <a:cubicBezTo>
                    <a:pt x="1440426" y="5334462"/>
                    <a:pt x="1689643" y="5153342"/>
                    <a:pt x="1807434" y="5037141"/>
                  </a:cubicBezTo>
                  <a:lnTo>
                    <a:pt x="3210130" y="3653937"/>
                  </a:lnTo>
                  <a:lnTo>
                    <a:pt x="3210130" y="3656530"/>
                  </a:lnTo>
                  <a:lnTo>
                    <a:pt x="3212808" y="3653937"/>
                  </a:lnTo>
                  <a:lnTo>
                    <a:pt x="5136694" y="1756738"/>
                  </a:lnTo>
                  <a:cubicBezTo>
                    <a:pt x="5285021" y="1610503"/>
                    <a:pt x="5378215" y="1429969"/>
                    <a:pt x="5418287" y="1240316"/>
                  </a:cubicBezTo>
                  <a:cubicBezTo>
                    <a:pt x="5428243" y="1193049"/>
                    <a:pt x="5435855" y="1145447"/>
                    <a:pt x="5439118" y="1097428"/>
                  </a:cubicBezTo>
                  <a:lnTo>
                    <a:pt x="5439118" y="1027406"/>
                  </a:lnTo>
                  <a:cubicBezTo>
                    <a:pt x="5439118" y="614469"/>
                    <a:pt x="5193247" y="236669"/>
                    <a:pt x="4810093" y="82487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48308" y="1886179"/>
            <a:ext cx="2666156" cy="9140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48308" y="2923601"/>
            <a:ext cx="2666156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E38CB365-0219-E63F-74AC-2AE8262C7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486" y="196013"/>
            <a:ext cx="57115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A21C1FD-CED0-55D4-C214-0521DB22D65F}"/>
              </a:ext>
            </a:extLst>
          </p:cNvPr>
          <p:cNvSpPr/>
          <p:nvPr userDrawn="1"/>
        </p:nvSpPr>
        <p:spPr>
          <a:xfrm>
            <a:off x="465634" y="1027011"/>
            <a:ext cx="341610" cy="4169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D7C651F4-622F-BEF9-C0C9-AF2DD9009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0E3A263-F491-B47E-7E28-B92659C01950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3"/>
                </a:solidFill>
              </a:rPr>
              <a:t>‹N°›</a:t>
            </a:fld>
            <a:endParaRPr lang="fr-FR" sz="525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64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bg>
      <p:bgPr>
        <a:solidFill>
          <a:srgbClr val="E2458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C108CAE9-20DA-D12A-1813-CF19EF5FBDB1}"/>
              </a:ext>
            </a:extLst>
          </p:cNvPr>
          <p:cNvGrpSpPr/>
          <p:nvPr userDrawn="1"/>
        </p:nvGrpSpPr>
        <p:grpSpPr>
          <a:xfrm>
            <a:off x="-616125" y="-1959990"/>
            <a:ext cx="6740501" cy="4120478"/>
            <a:chOff x="-821499" y="-2613320"/>
            <a:chExt cx="8987334" cy="5493971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46F2D55-F6E3-4E74-83EF-658794E60D75}"/>
                </a:ext>
              </a:extLst>
            </p:cNvPr>
            <p:cNvSpPr/>
            <p:nvPr/>
          </p:nvSpPr>
          <p:spPr>
            <a:xfrm>
              <a:off x="5872783" y="-876686"/>
              <a:ext cx="2271340" cy="3757250"/>
            </a:xfrm>
            <a:custGeom>
              <a:avLst/>
              <a:gdLst>
                <a:gd name="connsiteX0" fmla="*/ 126137 w 2271340"/>
                <a:gd name="connsiteY0" fmla="*/ 2154336 h 3757250"/>
                <a:gd name="connsiteX1" fmla="*/ 123381 w 2271340"/>
                <a:gd name="connsiteY1" fmla="*/ 2157007 h 3757250"/>
                <a:gd name="connsiteX2" fmla="*/ 0 w 2271340"/>
                <a:gd name="connsiteY2" fmla="*/ 2278578 h 3757250"/>
                <a:gd name="connsiteX3" fmla="*/ 0 w 2271340"/>
                <a:gd name="connsiteY3" fmla="*/ 2719544 h 3757250"/>
                <a:gd name="connsiteX4" fmla="*/ 308021 w 2271340"/>
                <a:gd name="connsiteY4" fmla="*/ 3453796 h 3757250"/>
                <a:gd name="connsiteX5" fmla="*/ 308021 w 2271340"/>
                <a:gd name="connsiteY5" fmla="*/ 3453796 h 3757250"/>
                <a:gd name="connsiteX6" fmla="*/ 1135670 w 2271340"/>
                <a:gd name="connsiteY6" fmla="*/ 3757251 h 3757250"/>
                <a:gd name="connsiteX7" fmla="*/ 1966939 w 2271340"/>
                <a:gd name="connsiteY7" fmla="*/ 3453882 h 3757250"/>
                <a:gd name="connsiteX8" fmla="*/ 2271340 w 2271340"/>
                <a:gd name="connsiteY8" fmla="*/ 2719544 h 3757250"/>
                <a:gd name="connsiteX9" fmla="*/ 2271340 w 2271340"/>
                <a:gd name="connsiteY9" fmla="*/ 0 h 3757250"/>
                <a:gd name="connsiteX10" fmla="*/ 2107465 w 2271340"/>
                <a:gd name="connsiteY10" fmla="*/ 200407 h 3757250"/>
                <a:gd name="connsiteX11" fmla="*/ 126052 w 2271340"/>
                <a:gd name="connsiteY11" fmla="*/ 2154336 h 37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1340" h="3757250">
                  <a:moveTo>
                    <a:pt x="126137" y="2154336"/>
                  </a:moveTo>
                  <a:lnTo>
                    <a:pt x="123381" y="2157007"/>
                  </a:lnTo>
                  <a:lnTo>
                    <a:pt x="0" y="2278578"/>
                  </a:lnTo>
                  <a:lnTo>
                    <a:pt x="0" y="2719544"/>
                  </a:lnTo>
                  <a:cubicBezTo>
                    <a:pt x="0" y="3004215"/>
                    <a:pt x="109422" y="3265020"/>
                    <a:pt x="308021" y="3453796"/>
                  </a:cubicBezTo>
                  <a:cubicBezTo>
                    <a:pt x="308021" y="3453796"/>
                    <a:pt x="308021" y="3453796"/>
                    <a:pt x="308021" y="3453796"/>
                  </a:cubicBezTo>
                  <a:cubicBezTo>
                    <a:pt x="516872" y="3652308"/>
                    <a:pt x="803094" y="3757251"/>
                    <a:pt x="1135670" y="3757251"/>
                  </a:cubicBezTo>
                  <a:cubicBezTo>
                    <a:pt x="1468247" y="3757251"/>
                    <a:pt x="1759466" y="3652308"/>
                    <a:pt x="1966939" y="3453882"/>
                  </a:cubicBezTo>
                  <a:cubicBezTo>
                    <a:pt x="2163211" y="3266140"/>
                    <a:pt x="2271340" y="3005335"/>
                    <a:pt x="2271340" y="2719544"/>
                  </a:cubicBezTo>
                  <a:lnTo>
                    <a:pt x="2271340" y="0"/>
                  </a:lnTo>
                  <a:cubicBezTo>
                    <a:pt x="2224125" y="71943"/>
                    <a:pt x="2169414" y="139234"/>
                    <a:pt x="2107465" y="200407"/>
                  </a:cubicBezTo>
                  <a:lnTo>
                    <a:pt x="126052" y="2154336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E4E81F-431D-8904-0D4F-46920B3824DD}"/>
                </a:ext>
              </a:extLst>
            </p:cNvPr>
            <p:cNvSpPr/>
            <p:nvPr/>
          </p:nvSpPr>
          <p:spPr>
            <a:xfrm>
              <a:off x="-821499" y="-1829439"/>
              <a:ext cx="3236954" cy="4710090"/>
            </a:xfrm>
            <a:custGeom>
              <a:avLst/>
              <a:gdLst>
                <a:gd name="connsiteX0" fmla="*/ 3205851 w 3236954"/>
                <a:gd name="connsiteY0" fmla="*/ 274160 h 4710090"/>
                <a:gd name="connsiteX1" fmla="*/ 3236954 w 3236954"/>
                <a:gd name="connsiteY1" fmla="*/ 0 h 4710090"/>
                <a:gd name="connsiteX2" fmla="*/ 265480 w 3236954"/>
                <a:gd name="connsiteY2" fmla="*/ 2930548 h 4710090"/>
                <a:gd name="connsiteX3" fmla="*/ 3296 w 3236954"/>
                <a:gd name="connsiteY3" fmla="*/ 3641796 h 4710090"/>
                <a:gd name="connsiteX4" fmla="*/ 350175 w 3236954"/>
                <a:gd name="connsiteY4" fmla="*/ 4361229 h 4710090"/>
                <a:gd name="connsiteX5" fmla="*/ 1129575 w 3236954"/>
                <a:gd name="connsiteY5" fmla="*/ 4710090 h 4710090"/>
                <a:gd name="connsiteX6" fmla="*/ 1859348 w 3236954"/>
                <a:gd name="connsiteY6" fmla="*/ 4410771 h 4710090"/>
                <a:gd name="connsiteX7" fmla="*/ 3205851 w 3236954"/>
                <a:gd name="connsiteY7" fmla="*/ 3082793 h 4710090"/>
                <a:gd name="connsiteX8" fmla="*/ 3205851 w 3236954"/>
                <a:gd name="connsiteY8" fmla="*/ 274160 h 471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6954" h="4710090">
                  <a:moveTo>
                    <a:pt x="3205851" y="274160"/>
                  </a:moveTo>
                  <a:cubicBezTo>
                    <a:pt x="3205851" y="181108"/>
                    <a:pt x="3216621" y="89348"/>
                    <a:pt x="3236954" y="0"/>
                  </a:cubicBezTo>
                  <a:lnTo>
                    <a:pt x="265480" y="2930548"/>
                  </a:lnTo>
                  <a:cubicBezTo>
                    <a:pt x="73947" y="3119410"/>
                    <a:pt x="-19192" y="3372031"/>
                    <a:pt x="3296" y="3641796"/>
                  </a:cubicBezTo>
                  <a:cubicBezTo>
                    <a:pt x="24922" y="3900878"/>
                    <a:pt x="148131" y="4156342"/>
                    <a:pt x="350175" y="4361229"/>
                  </a:cubicBezTo>
                  <a:cubicBezTo>
                    <a:pt x="559112" y="4573096"/>
                    <a:pt x="865065" y="4710090"/>
                    <a:pt x="1129575" y="4710090"/>
                  </a:cubicBezTo>
                  <a:cubicBezTo>
                    <a:pt x="1394085" y="4710090"/>
                    <a:pt x="1663679" y="4603769"/>
                    <a:pt x="1859348" y="4410771"/>
                  </a:cubicBezTo>
                  <a:lnTo>
                    <a:pt x="3205851" y="3082793"/>
                  </a:lnTo>
                  <a:lnTo>
                    <a:pt x="3205851" y="274160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7D664BE-D760-8A14-3009-73D859094AC8}"/>
                </a:ext>
              </a:extLst>
            </p:cNvPr>
            <p:cNvSpPr/>
            <p:nvPr/>
          </p:nvSpPr>
          <p:spPr>
            <a:xfrm>
              <a:off x="2564080" y="-2613320"/>
              <a:ext cx="5601755" cy="5493970"/>
            </a:xfrm>
            <a:custGeom>
              <a:avLst/>
              <a:gdLst>
                <a:gd name="connsiteX0" fmla="*/ 4953836 w 5601755"/>
                <a:gd name="connsiteY0" fmla="*/ 84867 h 5493970"/>
                <a:gd name="connsiteX1" fmla="*/ 4537082 w 5601755"/>
                <a:gd name="connsiteY1" fmla="*/ 0 h 5493970"/>
                <a:gd name="connsiteX2" fmla="*/ 3808774 w 5601755"/>
                <a:gd name="connsiteY2" fmla="*/ 306901 h 5493970"/>
                <a:gd name="connsiteX3" fmla="*/ 2376283 w 5601755"/>
                <a:gd name="connsiteY3" fmla="*/ 1719488 h 5493970"/>
                <a:gd name="connsiteX4" fmla="*/ 2366203 w 5601755"/>
                <a:gd name="connsiteY4" fmla="*/ 1726812 h 5493970"/>
                <a:gd name="connsiteX5" fmla="*/ 2236963 w 5601755"/>
                <a:gd name="connsiteY5" fmla="*/ 1854242 h 5493970"/>
                <a:gd name="connsiteX6" fmla="*/ 2236963 w 5601755"/>
                <a:gd name="connsiteY6" fmla="*/ 1058041 h 5493970"/>
                <a:gd name="connsiteX7" fmla="*/ 1589129 w 5601755"/>
                <a:gd name="connsiteY7" fmla="*/ 84867 h 5493970"/>
                <a:gd name="connsiteX8" fmla="*/ 1147474 w 5601755"/>
                <a:gd name="connsiteY8" fmla="*/ 3102 h 5493970"/>
                <a:gd name="connsiteX9" fmla="*/ 369711 w 5601755"/>
                <a:gd name="connsiteY9" fmla="*/ 252017 h 5493970"/>
                <a:gd name="connsiteX10" fmla="*/ 363852 w 5601755"/>
                <a:gd name="connsiteY10" fmla="*/ 256928 h 5493970"/>
                <a:gd name="connsiteX11" fmla="*/ 363852 w 5601755"/>
                <a:gd name="connsiteY11" fmla="*/ 256928 h 5493970"/>
                <a:gd name="connsiteX12" fmla="*/ 197823 w 5601755"/>
                <a:gd name="connsiteY12" fmla="*/ 442171 h 5493970"/>
                <a:gd name="connsiteX13" fmla="*/ 0 w 5601755"/>
                <a:gd name="connsiteY13" fmla="*/ 1057954 h 5493970"/>
                <a:gd name="connsiteX14" fmla="*/ 0 w 5601755"/>
                <a:gd name="connsiteY14" fmla="*/ 4389232 h 5493970"/>
                <a:gd name="connsiteX15" fmla="*/ 488956 w 5601755"/>
                <a:gd name="connsiteY15" fmla="*/ 5279261 h 5493970"/>
                <a:gd name="connsiteX16" fmla="*/ 1137652 w 5601755"/>
                <a:gd name="connsiteY16" fmla="*/ 5493971 h 5493970"/>
                <a:gd name="connsiteX17" fmla="*/ 1861479 w 5601755"/>
                <a:gd name="connsiteY17" fmla="*/ 5187759 h 5493970"/>
                <a:gd name="connsiteX18" fmla="*/ 3306118 w 5601755"/>
                <a:gd name="connsiteY18" fmla="*/ 3763195 h 5493970"/>
                <a:gd name="connsiteX19" fmla="*/ 3306118 w 5601755"/>
                <a:gd name="connsiteY19" fmla="*/ 3765866 h 5493970"/>
                <a:gd name="connsiteX20" fmla="*/ 3308875 w 5601755"/>
                <a:gd name="connsiteY20" fmla="*/ 3763195 h 5493970"/>
                <a:gd name="connsiteX21" fmla="*/ 5290289 w 5601755"/>
                <a:gd name="connsiteY21" fmla="*/ 1809267 h 5493970"/>
                <a:gd name="connsiteX22" fmla="*/ 5580302 w 5601755"/>
                <a:gd name="connsiteY22" fmla="*/ 1277403 h 5493970"/>
                <a:gd name="connsiteX23" fmla="*/ 5601756 w 5601755"/>
                <a:gd name="connsiteY23" fmla="*/ 1130242 h 5493970"/>
                <a:gd name="connsiteX24" fmla="*/ 5601756 w 5601755"/>
                <a:gd name="connsiteY24" fmla="*/ 1058127 h 5493970"/>
                <a:gd name="connsiteX25" fmla="*/ 4953922 w 5601755"/>
                <a:gd name="connsiteY25" fmla="*/ 84953 h 54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601755" h="5493970">
                  <a:moveTo>
                    <a:pt x="4953836" y="84867"/>
                  </a:moveTo>
                  <a:cubicBezTo>
                    <a:pt x="4802970" y="24125"/>
                    <a:pt x="4663478" y="0"/>
                    <a:pt x="4537082" y="0"/>
                  </a:cubicBezTo>
                  <a:cubicBezTo>
                    <a:pt x="4169869" y="0"/>
                    <a:pt x="3913286" y="203854"/>
                    <a:pt x="3808774" y="306901"/>
                  </a:cubicBezTo>
                  <a:lnTo>
                    <a:pt x="2376283" y="1719488"/>
                  </a:lnTo>
                  <a:cubicBezTo>
                    <a:pt x="2373182" y="1722590"/>
                    <a:pt x="2369563" y="1724399"/>
                    <a:pt x="2366203" y="1726812"/>
                  </a:cubicBezTo>
                  <a:lnTo>
                    <a:pt x="2236963" y="1854242"/>
                  </a:lnTo>
                  <a:lnTo>
                    <a:pt x="2236963" y="1058041"/>
                  </a:lnTo>
                  <a:cubicBezTo>
                    <a:pt x="2236963" y="632670"/>
                    <a:pt x="1981500" y="249001"/>
                    <a:pt x="1589129" y="84867"/>
                  </a:cubicBezTo>
                  <a:cubicBezTo>
                    <a:pt x="1457649" y="29897"/>
                    <a:pt x="1304457" y="3102"/>
                    <a:pt x="1147474" y="3102"/>
                  </a:cubicBezTo>
                  <a:cubicBezTo>
                    <a:pt x="865991" y="3102"/>
                    <a:pt x="572272" y="89003"/>
                    <a:pt x="369711" y="252017"/>
                  </a:cubicBezTo>
                  <a:cubicBezTo>
                    <a:pt x="367816" y="253654"/>
                    <a:pt x="365748" y="255291"/>
                    <a:pt x="363852" y="256928"/>
                  </a:cubicBezTo>
                  <a:cubicBezTo>
                    <a:pt x="363852" y="256928"/>
                    <a:pt x="363852" y="256928"/>
                    <a:pt x="363852" y="256928"/>
                  </a:cubicBezTo>
                  <a:cubicBezTo>
                    <a:pt x="301042" y="312587"/>
                    <a:pt x="245641" y="374881"/>
                    <a:pt x="197823" y="442171"/>
                  </a:cubicBezTo>
                  <a:cubicBezTo>
                    <a:pt x="71426" y="619919"/>
                    <a:pt x="0" y="833422"/>
                    <a:pt x="0" y="1057954"/>
                  </a:cubicBezTo>
                  <a:lnTo>
                    <a:pt x="0" y="4389232"/>
                  </a:lnTo>
                  <a:cubicBezTo>
                    <a:pt x="0" y="4763509"/>
                    <a:pt x="195065" y="5092036"/>
                    <a:pt x="488956" y="5279261"/>
                  </a:cubicBezTo>
                  <a:cubicBezTo>
                    <a:pt x="727274" y="5436761"/>
                    <a:pt x="946119" y="5493971"/>
                    <a:pt x="1137652" y="5493971"/>
                  </a:cubicBezTo>
                  <a:cubicBezTo>
                    <a:pt x="1483497" y="5493971"/>
                    <a:pt x="1740166" y="5307435"/>
                    <a:pt x="1861479" y="5187759"/>
                  </a:cubicBezTo>
                  <a:lnTo>
                    <a:pt x="3306118" y="3763195"/>
                  </a:lnTo>
                  <a:lnTo>
                    <a:pt x="3306118" y="3765866"/>
                  </a:lnTo>
                  <a:lnTo>
                    <a:pt x="3308875" y="3763195"/>
                  </a:lnTo>
                  <a:lnTo>
                    <a:pt x="5290289" y="1809267"/>
                  </a:lnTo>
                  <a:cubicBezTo>
                    <a:pt x="5443051" y="1658660"/>
                    <a:pt x="5539032" y="1472727"/>
                    <a:pt x="5580302" y="1277403"/>
                  </a:cubicBezTo>
                  <a:cubicBezTo>
                    <a:pt x="5590556" y="1228723"/>
                    <a:pt x="5598396" y="1179698"/>
                    <a:pt x="5601756" y="1130242"/>
                  </a:cubicBezTo>
                  <a:lnTo>
                    <a:pt x="5601756" y="1058127"/>
                  </a:lnTo>
                  <a:cubicBezTo>
                    <a:pt x="5601756" y="632843"/>
                    <a:pt x="5348533" y="243746"/>
                    <a:pt x="4953922" y="84953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1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B3B635-7EA2-A7E5-AA2E-904A98654032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D71FC5-59E5-4DF4-A63B-4CDF83CD59CC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D0CD493-06B9-696D-823B-29CBE3D42A3F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146617-B1D7-1F52-7D19-4522461D2DC5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76AD106-991D-33CD-2395-949EFAF85341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672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54749D2-695D-3272-0A83-5C5E69241F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3EAA8BD-DBE0-C37D-6736-6DD494075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672" y="3584585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8219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62E33B6-E349-D93E-9F41-F21B9352D9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2786" y="1490629"/>
            <a:ext cx="3643744" cy="18524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91198E7-4307-9930-5706-315EF9268CAE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</p:spTree>
    <p:extLst>
      <p:ext uri="{BB962C8B-B14F-4D97-AF65-F5344CB8AC3E}">
        <p14:creationId xmlns:p14="http://schemas.microsoft.com/office/powerpoint/2010/main" val="412490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32462FE-ECB9-73D1-59F0-5F4E6DDA9657}"/>
              </a:ext>
            </a:extLst>
          </p:cNvPr>
          <p:cNvGrpSpPr/>
          <p:nvPr userDrawn="1"/>
        </p:nvGrpSpPr>
        <p:grpSpPr>
          <a:xfrm>
            <a:off x="-616125" y="-1959990"/>
            <a:ext cx="6740501" cy="4120478"/>
            <a:chOff x="-821499" y="-2613320"/>
            <a:chExt cx="8987334" cy="549397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D8CE588-E1AC-DA49-1C2F-E68445CC0AD3}"/>
                </a:ext>
              </a:extLst>
            </p:cNvPr>
            <p:cNvSpPr/>
            <p:nvPr/>
          </p:nvSpPr>
          <p:spPr>
            <a:xfrm>
              <a:off x="5872783" y="-876686"/>
              <a:ext cx="2271340" cy="3757250"/>
            </a:xfrm>
            <a:custGeom>
              <a:avLst/>
              <a:gdLst>
                <a:gd name="connsiteX0" fmla="*/ 126137 w 2271340"/>
                <a:gd name="connsiteY0" fmla="*/ 2154336 h 3757250"/>
                <a:gd name="connsiteX1" fmla="*/ 123381 w 2271340"/>
                <a:gd name="connsiteY1" fmla="*/ 2157007 h 3757250"/>
                <a:gd name="connsiteX2" fmla="*/ 0 w 2271340"/>
                <a:gd name="connsiteY2" fmla="*/ 2278578 h 3757250"/>
                <a:gd name="connsiteX3" fmla="*/ 0 w 2271340"/>
                <a:gd name="connsiteY3" fmla="*/ 2719544 h 3757250"/>
                <a:gd name="connsiteX4" fmla="*/ 308021 w 2271340"/>
                <a:gd name="connsiteY4" fmla="*/ 3453796 h 3757250"/>
                <a:gd name="connsiteX5" fmla="*/ 308021 w 2271340"/>
                <a:gd name="connsiteY5" fmla="*/ 3453796 h 3757250"/>
                <a:gd name="connsiteX6" fmla="*/ 1135670 w 2271340"/>
                <a:gd name="connsiteY6" fmla="*/ 3757251 h 3757250"/>
                <a:gd name="connsiteX7" fmla="*/ 1966939 w 2271340"/>
                <a:gd name="connsiteY7" fmla="*/ 3453882 h 3757250"/>
                <a:gd name="connsiteX8" fmla="*/ 2271340 w 2271340"/>
                <a:gd name="connsiteY8" fmla="*/ 2719544 h 3757250"/>
                <a:gd name="connsiteX9" fmla="*/ 2271340 w 2271340"/>
                <a:gd name="connsiteY9" fmla="*/ 0 h 3757250"/>
                <a:gd name="connsiteX10" fmla="*/ 2107465 w 2271340"/>
                <a:gd name="connsiteY10" fmla="*/ 200407 h 3757250"/>
                <a:gd name="connsiteX11" fmla="*/ 126052 w 2271340"/>
                <a:gd name="connsiteY11" fmla="*/ 2154336 h 37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1340" h="3757250">
                  <a:moveTo>
                    <a:pt x="126137" y="2154336"/>
                  </a:moveTo>
                  <a:lnTo>
                    <a:pt x="123381" y="2157007"/>
                  </a:lnTo>
                  <a:lnTo>
                    <a:pt x="0" y="2278578"/>
                  </a:lnTo>
                  <a:lnTo>
                    <a:pt x="0" y="2719544"/>
                  </a:lnTo>
                  <a:cubicBezTo>
                    <a:pt x="0" y="3004215"/>
                    <a:pt x="109422" y="3265020"/>
                    <a:pt x="308021" y="3453796"/>
                  </a:cubicBezTo>
                  <a:cubicBezTo>
                    <a:pt x="308021" y="3453796"/>
                    <a:pt x="308021" y="3453796"/>
                    <a:pt x="308021" y="3453796"/>
                  </a:cubicBezTo>
                  <a:cubicBezTo>
                    <a:pt x="516872" y="3652308"/>
                    <a:pt x="803094" y="3757251"/>
                    <a:pt x="1135670" y="3757251"/>
                  </a:cubicBezTo>
                  <a:cubicBezTo>
                    <a:pt x="1468247" y="3757251"/>
                    <a:pt x="1759466" y="3652308"/>
                    <a:pt x="1966939" y="3453882"/>
                  </a:cubicBezTo>
                  <a:cubicBezTo>
                    <a:pt x="2163211" y="3266140"/>
                    <a:pt x="2271340" y="3005335"/>
                    <a:pt x="2271340" y="2719544"/>
                  </a:cubicBezTo>
                  <a:lnTo>
                    <a:pt x="2271340" y="0"/>
                  </a:lnTo>
                  <a:cubicBezTo>
                    <a:pt x="2224125" y="71943"/>
                    <a:pt x="2169414" y="139234"/>
                    <a:pt x="2107465" y="200407"/>
                  </a:cubicBezTo>
                  <a:lnTo>
                    <a:pt x="126052" y="2154336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201BC8B-8EC5-7FF1-BDA8-27677D338CA9}"/>
                </a:ext>
              </a:extLst>
            </p:cNvPr>
            <p:cNvSpPr/>
            <p:nvPr/>
          </p:nvSpPr>
          <p:spPr>
            <a:xfrm>
              <a:off x="-821499" y="-1829439"/>
              <a:ext cx="3236954" cy="4710090"/>
            </a:xfrm>
            <a:custGeom>
              <a:avLst/>
              <a:gdLst>
                <a:gd name="connsiteX0" fmla="*/ 3205851 w 3236954"/>
                <a:gd name="connsiteY0" fmla="*/ 274160 h 4710090"/>
                <a:gd name="connsiteX1" fmla="*/ 3236954 w 3236954"/>
                <a:gd name="connsiteY1" fmla="*/ 0 h 4710090"/>
                <a:gd name="connsiteX2" fmla="*/ 265480 w 3236954"/>
                <a:gd name="connsiteY2" fmla="*/ 2930548 h 4710090"/>
                <a:gd name="connsiteX3" fmla="*/ 3296 w 3236954"/>
                <a:gd name="connsiteY3" fmla="*/ 3641796 h 4710090"/>
                <a:gd name="connsiteX4" fmla="*/ 350175 w 3236954"/>
                <a:gd name="connsiteY4" fmla="*/ 4361229 h 4710090"/>
                <a:gd name="connsiteX5" fmla="*/ 1129575 w 3236954"/>
                <a:gd name="connsiteY5" fmla="*/ 4710090 h 4710090"/>
                <a:gd name="connsiteX6" fmla="*/ 1859348 w 3236954"/>
                <a:gd name="connsiteY6" fmla="*/ 4410771 h 4710090"/>
                <a:gd name="connsiteX7" fmla="*/ 3205851 w 3236954"/>
                <a:gd name="connsiteY7" fmla="*/ 3082793 h 4710090"/>
                <a:gd name="connsiteX8" fmla="*/ 3205851 w 3236954"/>
                <a:gd name="connsiteY8" fmla="*/ 274160 h 471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6954" h="4710090">
                  <a:moveTo>
                    <a:pt x="3205851" y="274160"/>
                  </a:moveTo>
                  <a:cubicBezTo>
                    <a:pt x="3205851" y="181108"/>
                    <a:pt x="3216621" y="89348"/>
                    <a:pt x="3236954" y="0"/>
                  </a:cubicBezTo>
                  <a:lnTo>
                    <a:pt x="265480" y="2930548"/>
                  </a:lnTo>
                  <a:cubicBezTo>
                    <a:pt x="73947" y="3119410"/>
                    <a:pt x="-19192" y="3372031"/>
                    <a:pt x="3296" y="3641796"/>
                  </a:cubicBezTo>
                  <a:cubicBezTo>
                    <a:pt x="24922" y="3900878"/>
                    <a:pt x="148131" y="4156342"/>
                    <a:pt x="350175" y="4361229"/>
                  </a:cubicBezTo>
                  <a:cubicBezTo>
                    <a:pt x="559112" y="4573096"/>
                    <a:pt x="865065" y="4710090"/>
                    <a:pt x="1129575" y="4710090"/>
                  </a:cubicBezTo>
                  <a:cubicBezTo>
                    <a:pt x="1394085" y="4710090"/>
                    <a:pt x="1663679" y="4603769"/>
                    <a:pt x="1859348" y="4410771"/>
                  </a:cubicBezTo>
                  <a:lnTo>
                    <a:pt x="3205851" y="3082793"/>
                  </a:lnTo>
                  <a:lnTo>
                    <a:pt x="3205851" y="274160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3DBA697-415C-F7C4-FBF8-01F82CACFAD1}"/>
                </a:ext>
              </a:extLst>
            </p:cNvPr>
            <p:cNvSpPr/>
            <p:nvPr/>
          </p:nvSpPr>
          <p:spPr>
            <a:xfrm>
              <a:off x="2564080" y="-2613320"/>
              <a:ext cx="5601755" cy="5493970"/>
            </a:xfrm>
            <a:custGeom>
              <a:avLst/>
              <a:gdLst>
                <a:gd name="connsiteX0" fmla="*/ 4953836 w 5601755"/>
                <a:gd name="connsiteY0" fmla="*/ 84867 h 5493970"/>
                <a:gd name="connsiteX1" fmla="*/ 4537082 w 5601755"/>
                <a:gd name="connsiteY1" fmla="*/ 0 h 5493970"/>
                <a:gd name="connsiteX2" fmla="*/ 3808774 w 5601755"/>
                <a:gd name="connsiteY2" fmla="*/ 306901 h 5493970"/>
                <a:gd name="connsiteX3" fmla="*/ 2376283 w 5601755"/>
                <a:gd name="connsiteY3" fmla="*/ 1719488 h 5493970"/>
                <a:gd name="connsiteX4" fmla="*/ 2366203 w 5601755"/>
                <a:gd name="connsiteY4" fmla="*/ 1726812 h 5493970"/>
                <a:gd name="connsiteX5" fmla="*/ 2236963 w 5601755"/>
                <a:gd name="connsiteY5" fmla="*/ 1854242 h 5493970"/>
                <a:gd name="connsiteX6" fmla="*/ 2236963 w 5601755"/>
                <a:gd name="connsiteY6" fmla="*/ 1058041 h 5493970"/>
                <a:gd name="connsiteX7" fmla="*/ 1589129 w 5601755"/>
                <a:gd name="connsiteY7" fmla="*/ 84867 h 5493970"/>
                <a:gd name="connsiteX8" fmla="*/ 1147474 w 5601755"/>
                <a:gd name="connsiteY8" fmla="*/ 3102 h 5493970"/>
                <a:gd name="connsiteX9" fmla="*/ 369711 w 5601755"/>
                <a:gd name="connsiteY9" fmla="*/ 252017 h 5493970"/>
                <a:gd name="connsiteX10" fmla="*/ 363852 w 5601755"/>
                <a:gd name="connsiteY10" fmla="*/ 256928 h 5493970"/>
                <a:gd name="connsiteX11" fmla="*/ 363852 w 5601755"/>
                <a:gd name="connsiteY11" fmla="*/ 256928 h 5493970"/>
                <a:gd name="connsiteX12" fmla="*/ 197823 w 5601755"/>
                <a:gd name="connsiteY12" fmla="*/ 442171 h 5493970"/>
                <a:gd name="connsiteX13" fmla="*/ 0 w 5601755"/>
                <a:gd name="connsiteY13" fmla="*/ 1057954 h 5493970"/>
                <a:gd name="connsiteX14" fmla="*/ 0 w 5601755"/>
                <a:gd name="connsiteY14" fmla="*/ 4389232 h 5493970"/>
                <a:gd name="connsiteX15" fmla="*/ 488956 w 5601755"/>
                <a:gd name="connsiteY15" fmla="*/ 5279261 h 5493970"/>
                <a:gd name="connsiteX16" fmla="*/ 1137652 w 5601755"/>
                <a:gd name="connsiteY16" fmla="*/ 5493971 h 5493970"/>
                <a:gd name="connsiteX17" fmla="*/ 1861479 w 5601755"/>
                <a:gd name="connsiteY17" fmla="*/ 5187759 h 5493970"/>
                <a:gd name="connsiteX18" fmla="*/ 3306118 w 5601755"/>
                <a:gd name="connsiteY18" fmla="*/ 3763195 h 5493970"/>
                <a:gd name="connsiteX19" fmla="*/ 3306118 w 5601755"/>
                <a:gd name="connsiteY19" fmla="*/ 3765866 h 5493970"/>
                <a:gd name="connsiteX20" fmla="*/ 3308875 w 5601755"/>
                <a:gd name="connsiteY20" fmla="*/ 3763195 h 5493970"/>
                <a:gd name="connsiteX21" fmla="*/ 5290289 w 5601755"/>
                <a:gd name="connsiteY21" fmla="*/ 1809267 h 5493970"/>
                <a:gd name="connsiteX22" fmla="*/ 5580302 w 5601755"/>
                <a:gd name="connsiteY22" fmla="*/ 1277403 h 5493970"/>
                <a:gd name="connsiteX23" fmla="*/ 5601756 w 5601755"/>
                <a:gd name="connsiteY23" fmla="*/ 1130242 h 5493970"/>
                <a:gd name="connsiteX24" fmla="*/ 5601756 w 5601755"/>
                <a:gd name="connsiteY24" fmla="*/ 1058127 h 5493970"/>
                <a:gd name="connsiteX25" fmla="*/ 4953922 w 5601755"/>
                <a:gd name="connsiteY25" fmla="*/ 84953 h 54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601755" h="5493970">
                  <a:moveTo>
                    <a:pt x="4953836" y="84867"/>
                  </a:moveTo>
                  <a:cubicBezTo>
                    <a:pt x="4802970" y="24125"/>
                    <a:pt x="4663478" y="0"/>
                    <a:pt x="4537082" y="0"/>
                  </a:cubicBezTo>
                  <a:cubicBezTo>
                    <a:pt x="4169869" y="0"/>
                    <a:pt x="3913286" y="203854"/>
                    <a:pt x="3808774" y="306901"/>
                  </a:cubicBezTo>
                  <a:lnTo>
                    <a:pt x="2376283" y="1719488"/>
                  </a:lnTo>
                  <a:cubicBezTo>
                    <a:pt x="2373182" y="1722590"/>
                    <a:pt x="2369563" y="1724399"/>
                    <a:pt x="2366203" y="1726812"/>
                  </a:cubicBezTo>
                  <a:lnTo>
                    <a:pt x="2236963" y="1854242"/>
                  </a:lnTo>
                  <a:lnTo>
                    <a:pt x="2236963" y="1058041"/>
                  </a:lnTo>
                  <a:cubicBezTo>
                    <a:pt x="2236963" y="632670"/>
                    <a:pt x="1981500" y="249001"/>
                    <a:pt x="1589129" y="84867"/>
                  </a:cubicBezTo>
                  <a:cubicBezTo>
                    <a:pt x="1457649" y="29897"/>
                    <a:pt x="1304457" y="3102"/>
                    <a:pt x="1147474" y="3102"/>
                  </a:cubicBezTo>
                  <a:cubicBezTo>
                    <a:pt x="865991" y="3102"/>
                    <a:pt x="572272" y="89003"/>
                    <a:pt x="369711" y="252017"/>
                  </a:cubicBezTo>
                  <a:cubicBezTo>
                    <a:pt x="367816" y="253654"/>
                    <a:pt x="365748" y="255291"/>
                    <a:pt x="363852" y="256928"/>
                  </a:cubicBezTo>
                  <a:cubicBezTo>
                    <a:pt x="363852" y="256928"/>
                    <a:pt x="363852" y="256928"/>
                    <a:pt x="363852" y="256928"/>
                  </a:cubicBezTo>
                  <a:cubicBezTo>
                    <a:pt x="301042" y="312587"/>
                    <a:pt x="245641" y="374881"/>
                    <a:pt x="197823" y="442171"/>
                  </a:cubicBezTo>
                  <a:cubicBezTo>
                    <a:pt x="71426" y="619919"/>
                    <a:pt x="0" y="833422"/>
                    <a:pt x="0" y="1057954"/>
                  </a:cubicBezTo>
                  <a:lnTo>
                    <a:pt x="0" y="4389232"/>
                  </a:lnTo>
                  <a:cubicBezTo>
                    <a:pt x="0" y="4763509"/>
                    <a:pt x="195065" y="5092036"/>
                    <a:pt x="488956" y="5279261"/>
                  </a:cubicBezTo>
                  <a:cubicBezTo>
                    <a:pt x="727274" y="5436761"/>
                    <a:pt x="946119" y="5493971"/>
                    <a:pt x="1137652" y="5493971"/>
                  </a:cubicBezTo>
                  <a:cubicBezTo>
                    <a:pt x="1483497" y="5493971"/>
                    <a:pt x="1740166" y="5307435"/>
                    <a:pt x="1861479" y="5187759"/>
                  </a:cubicBezTo>
                  <a:lnTo>
                    <a:pt x="3306118" y="3763195"/>
                  </a:lnTo>
                  <a:lnTo>
                    <a:pt x="3306118" y="3765866"/>
                  </a:lnTo>
                  <a:lnTo>
                    <a:pt x="3308875" y="3763195"/>
                  </a:lnTo>
                  <a:lnTo>
                    <a:pt x="5290289" y="1809267"/>
                  </a:lnTo>
                  <a:cubicBezTo>
                    <a:pt x="5443051" y="1658660"/>
                    <a:pt x="5539032" y="1472727"/>
                    <a:pt x="5580302" y="1277403"/>
                  </a:cubicBezTo>
                  <a:cubicBezTo>
                    <a:pt x="5590556" y="1228723"/>
                    <a:pt x="5598396" y="1179698"/>
                    <a:pt x="5601756" y="1130242"/>
                  </a:cubicBezTo>
                  <a:lnTo>
                    <a:pt x="5601756" y="1058127"/>
                  </a:lnTo>
                  <a:cubicBezTo>
                    <a:pt x="5601756" y="632843"/>
                    <a:pt x="5348533" y="243746"/>
                    <a:pt x="4953922" y="84953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BE3CBC76-DD7B-4097-32ED-750122F24D9F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37D522B-721E-2734-152B-F1BBAEB76749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947E44B-9A20-386D-B32B-BBF0F490AEB9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81A2272-4249-66E6-AD2E-65D24AB1532D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B57000F-1EEE-D74F-A9D9-6B9FE688B83D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1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54749D2-695D-3272-0A83-5C5E69241F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25969" y="1067221"/>
            <a:ext cx="3259361" cy="1395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825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62E33B6-E349-D93E-9F41-F21B9352D9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801643"/>
            <a:ext cx="3185932" cy="43418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91198E7-4307-9930-5706-315EF9268CAE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31E2D59-ED67-5E2D-3F0E-CEB6A77857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52551" y="1769680"/>
            <a:ext cx="859421" cy="13850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9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1C660EB-0D89-C1FA-3700-5A622C2D34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852551" y="2903321"/>
            <a:ext cx="859421" cy="13850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9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D92C85C-B76B-9566-7238-D63314E45C57}"/>
              </a:ext>
            </a:extLst>
          </p:cNvPr>
          <p:cNvSpPr/>
          <p:nvPr userDrawn="1"/>
        </p:nvSpPr>
        <p:spPr>
          <a:xfrm>
            <a:off x="2725001" y="1374077"/>
            <a:ext cx="929706" cy="92970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fr-FR" sz="2100" dirty="0">
                <a:solidFill>
                  <a:schemeClr val="accent3"/>
                </a:solidFill>
                <a:latin typeface="Raleway ExtraBold" pitchFamily="2" charset="0"/>
              </a:rPr>
              <a:t>XX%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627DAC2-6C53-E9C1-7178-45EDC84F2962}"/>
              </a:ext>
            </a:extLst>
          </p:cNvPr>
          <p:cNvSpPr/>
          <p:nvPr userDrawn="1"/>
        </p:nvSpPr>
        <p:spPr>
          <a:xfrm>
            <a:off x="2725001" y="2507719"/>
            <a:ext cx="929706" cy="92970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fr-FR" sz="2100" dirty="0">
                <a:solidFill>
                  <a:schemeClr val="accent3"/>
                </a:solidFill>
                <a:latin typeface="Raleway ExtraBold" pitchFamily="2" charset="0"/>
              </a:rPr>
              <a:t>XX%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5D72D15-1B33-0BB9-05FE-449475719794}"/>
              </a:ext>
            </a:extLst>
          </p:cNvPr>
          <p:cNvSpPr/>
          <p:nvPr userDrawn="1"/>
        </p:nvSpPr>
        <p:spPr>
          <a:xfrm>
            <a:off x="2725001" y="3641360"/>
            <a:ext cx="929706" cy="92970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r>
              <a:rPr lang="fr-FR" sz="2100" dirty="0">
                <a:solidFill>
                  <a:schemeClr val="accent3"/>
                </a:solidFill>
                <a:latin typeface="Raleway ExtraBold" pitchFamily="2" charset="0"/>
              </a:rPr>
              <a:t>XX%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E8428042-9D3C-656B-1975-C12D3F48B6D7}"/>
              </a:ext>
            </a:extLst>
          </p:cNvPr>
          <p:cNvSpPr>
            <a:spLocks noGrp="1"/>
          </p:cNvSpPr>
          <p:nvPr userDrawn="1">
            <p:ph type="body" sz="quarter" idx="20"/>
          </p:nvPr>
        </p:nvSpPr>
        <p:spPr>
          <a:xfrm>
            <a:off x="3852551" y="4036963"/>
            <a:ext cx="859421" cy="13850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9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23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6FFB14-114A-5652-CE97-6669E506F5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3513586" cy="5143500"/>
          </a:xfrm>
          <a:custGeom>
            <a:avLst/>
            <a:gdLst>
              <a:gd name="connsiteX0" fmla="*/ 0 w 4684781"/>
              <a:gd name="connsiteY0" fmla="*/ 0 h 6858000"/>
              <a:gd name="connsiteX1" fmla="*/ 3641008 w 4684781"/>
              <a:gd name="connsiteY1" fmla="*/ 0 h 6858000"/>
              <a:gd name="connsiteX2" fmla="*/ 3791691 w 4684781"/>
              <a:gd name="connsiteY2" fmla="*/ 167298 h 6858000"/>
              <a:gd name="connsiteX3" fmla="*/ 3524126 w 4684781"/>
              <a:gd name="connsiteY3" fmla="*/ 5548346 h 6858000"/>
              <a:gd name="connsiteX4" fmla="*/ 2193069 w 4684781"/>
              <a:gd name="connsiteY4" fmla="*/ 6858000 h 6858000"/>
              <a:gd name="connsiteX5" fmla="*/ 0 w 4684781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4781" h="6858000">
                <a:moveTo>
                  <a:pt x="0" y="0"/>
                </a:moveTo>
                <a:lnTo>
                  <a:pt x="3641008" y="0"/>
                </a:lnTo>
                <a:lnTo>
                  <a:pt x="3791691" y="167298"/>
                </a:lnTo>
                <a:cubicBezTo>
                  <a:pt x="5018619" y="1639136"/>
                  <a:pt x="5029487" y="4039351"/>
                  <a:pt x="3524126" y="5548346"/>
                </a:cubicBezTo>
                <a:lnTo>
                  <a:pt x="219306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374E0BA-4D4C-BC3B-FEE0-1BA2B79769B3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  <a:solidFill>
            <a:schemeClr val="bg1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9760CDF-7C6B-1476-2349-7A2B0E9D7B3E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841558-8215-82EB-59E4-00C39B30BE61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92EECA-964D-B711-D9D2-D9E4064DFB1E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4BB8984A-7199-92B8-79F5-A51330034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3587" y="2160125"/>
            <a:ext cx="3794281" cy="9140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DDB51187-A0AE-DE21-AF3A-AB16123AF9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03587" y="3191709"/>
            <a:ext cx="379428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69B89A5-7CB0-A3D0-2696-4A04F0D4D7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03587" y="1151185"/>
            <a:ext cx="379428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B60FDE6-0609-6637-19F9-15BC9D7E1C1B}"/>
              </a:ext>
            </a:extLst>
          </p:cNvPr>
          <p:cNvSpPr/>
          <p:nvPr userDrawn="1"/>
        </p:nvSpPr>
        <p:spPr>
          <a:xfrm>
            <a:off x="3903586" y="3628914"/>
            <a:ext cx="391478" cy="342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schemeClr val="bg1"/>
              </a:solidFill>
            </a:endParaRP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45FEC2B-2043-F1E3-B8A7-3D1F7391A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4580341B-5308-6395-5728-BDEF57D85653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4"/>
                </a:solidFill>
              </a:rPr>
              <a:t>‹N°›</a:t>
            </a:fld>
            <a:endParaRPr lang="fr-FR" sz="525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978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09E7FC82-8954-0B5F-7099-EEA5E97044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8913" t="7231" r="40425" b="44988"/>
          <a:stretch/>
        </p:blipFill>
        <p:spPr>
          <a:xfrm>
            <a:off x="3449835" y="500702"/>
            <a:ext cx="1082196" cy="3741189"/>
          </a:xfrm>
          <a:prstGeom prst="rect">
            <a:avLst/>
          </a:prstGeom>
        </p:spPr>
      </p:pic>
      <p:pic>
        <p:nvPicPr>
          <p:cNvPr id="7" name="Image 6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id="{21B10902-C9FD-BD90-7BE4-921BF8BDC1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78686" r="2255" b="634"/>
          <a:stretch/>
        </p:blipFill>
        <p:spPr>
          <a:xfrm>
            <a:off x="6911761" y="500704"/>
            <a:ext cx="1076377" cy="3750044"/>
          </a:xfrm>
          <a:prstGeom prst="rect">
            <a:avLst/>
          </a:prstGeom>
        </p:spPr>
      </p:pic>
      <p:pic>
        <p:nvPicPr>
          <p:cNvPr id="5" name="Image 4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9F6FFB4D-D7F5-0637-B928-14E414346A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23099" t="22412" r="47196" b="10991"/>
          <a:stretch/>
        </p:blipFill>
        <p:spPr>
          <a:xfrm>
            <a:off x="1110608" y="507767"/>
            <a:ext cx="1114359" cy="3733319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3C12F26-3B42-EA3B-78FA-E31868E4F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60030" t="39857" r="24111" b="18374"/>
          <a:stretch/>
        </p:blipFill>
        <p:spPr>
          <a:xfrm>
            <a:off x="5749915" y="500705"/>
            <a:ext cx="1099649" cy="3750044"/>
          </a:xfrm>
          <a:prstGeom prst="rect">
            <a:avLst/>
          </a:prstGeom>
        </p:spPr>
      </p:pic>
      <p:pic>
        <p:nvPicPr>
          <p:cNvPr id="38" name="Image 37" descr="Une image contenant intérieur&#10;&#10;Description générée automatiquement">
            <a:extLst>
              <a:ext uri="{FF2B5EF4-FFF2-40B4-BE49-F238E27FC236}">
                <a16:creationId xmlns:a16="http://schemas.microsoft.com/office/drawing/2014/main" id="{ABA1D7D0-2DE4-5E7D-5E7A-DE43DEBA5A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4562" r="55928"/>
          <a:stretch/>
        </p:blipFill>
        <p:spPr>
          <a:xfrm>
            <a:off x="4595394" y="500705"/>
            <a:ext cx="1094438" cy="3747444"/>
          </a:xfrm>
          <a:prstGeom prst="rect">
            <a:avLst/>
          </a:prstGeom>
        </p:spPr>
      </p:pic>
      <p:pic>
        <p:nvPicPr>
          <p:cNvPr id="11" name="Image 10" descr="carre-vierge.png">
            <a:extLst>
              <a:ext uri="{FF2B5EF4-FFF2-40B4-BE49-F238E27FC236}">
                <a16:creationId xmlns:a16="http://schemas.microsoft.com/office/drawing/2014/main" id="{73FF4071-B0A4-4319-BF69-065DBF74D66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6366" y="1092200"/>
            <a:ext cx="2603500" cy="2603500"/>
          </a:xfrm>
          <a:prstGeom prst="rect">
            <a:avLst/>
          </a:prstGeom>
        </p:spPr>
      </p:pic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CDDA0E93-B213-475B-97A7-788B1BCE75BB}"/>
              </a:ext>
            </a:extLst>
          </p:cNvPr>
          <p:cNvSpPr txBox="1">
            <a:spLocks/>
          </p:cNvSpPr>
          <p:nvPr userDrawn="1"/>
        </p:nvSpPr>
        <p:spPr>
          <a:xfrm>
            <a:off x="5047166" y="11303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2800" b="0" i="0" kern="1200" cap="all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>
                <a:solidFill>
                  <a:schemeClr val="bg1"/>
                </a:solidFill>
                <a:latin typeface="+mj-lt"/>
              </a:rPr>
              <a:t>TITRE</a:t>
            </a:r>
            <a:br>
              <a:rPr lang="fr-FR">
                <a:solidFill>
                  <a:schemeClr val="bg1"/>
                </a:solidFill>
                <a:latin typeface="+mj-lt"/>
              </a:rPr>
            </a:br>
            <a:r>
              <a:rPr lang="fr-FR">
                <a:solidFill>
                  <a:schemeClr val="bg1"/>
                </a:solidFill>
                <a:latin typeface="+mj-lt"/>
              </a:rPr>
              <a:t>EN ARIAL BLANC </a:t>
            </a:r>
            <a:br>
              <a:rPr lang="fr-FR">
                <a:solidFill>
                  <a:schemeClr val="bg1"/>
                </a:solidFill>
                <a:latin typeface="+mj-lt"/>
              </a:rPr>
            </a:br>
            <a:r>
              <a:rPr lang="fr-FR">
                <a:solidFill>
                  <a:schemeClr val="bg1"/>
                </a:solidFill>
                <a:latin typeface="+mj-lt"/>
              </a:rPr>
              <a:t>MAJ.  28</a:t>
            </a:r>
            <a:br>
              <a:rPr lang="fr-FR">
                <a:solidFill>
                  <a:schemeClr val="bg1"/>
                </a:solidFill>
                <a:latin typeface="+mj-lt"/>
              </a:rPr>
            </a:br>
            <a:r>
              <a:rPr lang="fr-FR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34" name="Image 33" descr="Une image contenant habits, caleçon&#10;&#10;Description générée automatiquement">
            <a:extLst>
              <a:ext uri="{FF2B5EF4-FFF2-40B4-BE49-F238E27FC236}">
                <a16:creationId xmlns:a16="http://schemas.microsoft.com/office/drawing/2014/main" id="{74EDD43D-9AAD-F150-4D1E-09DCF50D64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435" t="144" r="39660" b="-383"/>
          <a:stretch/>
        </p:blipFill>
        <p:spPr>
          <a:xfrm>
            <a:off x="8051501" y="500704"/>
            <a:ext cx="1166425" cy="3755089"/>
          </a:xfrm>
          <a:prstGeom prst="rect">
            <a:avLst/>
          </a:prstGeom>
        </p:spPr>
      </p:pic>
      <p:pic>
        <p:nvPicPr>
          <p:cNvPr id="45" name="Image 44" descr="Une image contenant texte&#10;&#10;Description générée automatiquement">
            <a:extLst>
              <a:ext uri="{FF2B5EF4-FFF2-40B4-BE49-F238E27FC236}">
                <a16:creationId xmlns:a16="http://schemas.microsoft.com/office/drawing/2014/main" id="{D79F6D7E-FA81-1766-F48B-60B71DF2CB9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018EC4C5-A5E2-1F98-8403-881F138D017B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2295158F-61AC-3885-C23E-8F5336750592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D51C8FCC-7156-58C5-EF9F-95EDB33EF249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290EE1A4-EDAD-7D76-99FC-A23038F527E7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  <p:pic>
        <p:nvPicPr>
          <p:cNvPr id="18" name="Image 17" descr="Une image contenant gâteau, chocolat, morceau, tranche&#10;&#10;Description générée automatiquement">
            <a:extLst>
              <a:ext uri="{FF2B5EF4-FFF2-40B4-BE49-F238E27FC236}">
                <a16:creationId xmlns:a16="http://schemas.microsoft.com/office/drawing/2014/main" id="{54773CF7-0BC8-F3F4-68DE-7A4235631B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21042" t="14028" r="51652" b="23990"/>
          <a:stretch/>
        </p:blipFill>
        <p:spPr>
          <a:xfrm>
            <a:off x="2288330" y="500702"/>
            <a:ext cx="1098142" cy="3741189"/>
          </a:xfrm>
          <a:prstGeom prst="rect">
            <a:avLst/>
          </a:prstGeom>
        </p:spPr>
      </p:pic>
      <p:pic>
        <p:nvPicPr>
          <p:cNvPr id="8" name="Image 7" descr="Une image contenant texte&#10;&#10;Description générée automatiquement">
            <a:extLst>
              <a:ext uri="{FF2B5EF4-FFF2-40B4-BE49-F238E27FC236}">
                <a16:creationId xmlns:a16="http://schemas.microsoft.com/office/drawing/2014/main" id="{BF4A9EDA-5E51-03AB-CE19-D829283C29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43510" r="35628" b="1439"/>
          <a:stretch/>
        </p:blipFill>
        <p:spPr>
          <a:xfrm>
            <a:off x="-50181" y="507768"/>
            <a:ext cx="1099649" cy="3733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73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74479A4-C938-9E02-C93B-F41AAEA4D82C}"/>
              </a:ext>
            </a:extLst>
          </p:cNvPr>
          <p:cNvGrpSpPr/>
          <p:nvPr userDrawn="1"/>
        </p:nvGrpSpPr>
        <p:grpSpPr>
          <a:xfrm>
            <a:off x="-1249900" y="577714"/>
            <a:ext cx="6544802" cy="4000847"/>
            <a:chOff x="-1666533" y="770286"/>
            <a:chExt cx="8726402" cy="5334462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39F2CCA5-3E58-65F1-9130-3A1A12A9F981}"/>
                </a:ext>
              </a:extLst>
            </p:cNvPr>
            <p:cNvSpPr/>
            <p:nvPr/>
          </p:nvSpPr>
          <p:spPr>
            <a:xfrm>
              <a:off x="4833391" y="2456499"/>
              <a:ext cx="2205395" cy="3648164"/>
            </a:xfrm>
            <a:custGeom>
              <a:avLst/>
              <a:gdLst>
                <a:gd name="connsiteX0" fmla="*/ 122475 w 2205395"/>
                <a:gd name="connsiteY0" fmla="*/ 2091789 h 3648164"/>
                <a:gd name="connsiteX1" fmla="*/ 119799 w 2205395"/>
                <a:gd name="connsiteY1" fmla="*/ 2094382 h 3648164"/>
                <a:gd name="connsiteX2" fmla="*/ 0 w 2205395"/>
                <a:gd name="connsiteY2" fmla="*/ 2212424 h 3648164"/>
                <a:gd name="connsiteX3" fmla="*/ 0 w 2205395"/>
                <a:gd name="connsiteY3" fmla="*/ 2640586 h 3648164"/>
                <a:gd name="connsiteX4" fmla="*/ 299078 w 2205395"/>
                <a:gd name="connsiteY4" fmla="*/ 3353521 h 3648164"/>
                <a:gd name="connsiteX5" fmla="*/ 299078 w 2205395"/>
                <a:gd name="connsiteY5" fmla="*/ 3353521 h 3648164"/>
                <a:gd name="connsiteX6" fmla="*/ 1102698 w 2205395"/>
                <a:gd name="connsiteY6" fmla="*/ 3648165 h 3648164"/>
                <a:gd name="connsiteX7" fmla="*/ 1909832 w 2205395"/>
                <a:gd name="connsiteY7" fmla="*/ 3353604 h 3648164"/>
                <a:gd name="connsiteX8" fmla="*/ 2205396 w 2205395"/>
                <a:gd name="connsiteY8" fmla="*/ 2640586 h 3648164"/>
                <a:gd name="connsiteX9" fmla="*/ 2205396 w 2205395"/>
                <a:gd name="connsiteY9" fmla="*/ 0 h 3648164"/>
                <a:gd name="connsiteX10" fmla="*/ 2046278 w 2205395"/>
                <a:gd name="connsiteY10" fmla="*/ 194589 h 3648164"/>
                <a:gd name="connsiteX11" fmla="*/ 122392 w 2205395"/>
                <a:gd name="connsiteY11" fmla="*/ 2091789 h 3648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5395" h="3648164">
                  <a:moveTo>
                    <a:pt x="122475" y="2091789"/>
                  </a:moveTo>
                  <a:lnTo>
                    <a:pt x="119799" y="2094382"/>
                  </a:lnTo>
                  <a:lnTo>
                    <a:pt x="0" y="2212424"/>
                  </a:lnTo>
                  <a:lnTo>
                    <a:pt x="0" y="2640586"/>
                  </a:lnTo>
                  <a:cubicBezTo>
                    <a:pt x="0" y="2916992"/>
                    <a:pt x="106245" y="3170226"/>
                    <a:pt x="299078" y="3353521"/>
                  </a:cubicBezTo>
                  <a:cubicBezTo>
                    <a:pt x="299078" y="3353521"/>
                    <a:pt x="299078" y="3353521"/>
                    <a:pt x="299078" y="3353521"/>
                  </a:cubicBezTo>
                  <a:cubicBezTo>
                    <a:pt x="501865" y="3546269"/>
                    <a:pt x="779777" y="3648165"/>
                    <a:pt x="1102698" y="3648165"/>
                  </a:cubicBezTo>
                  <a:cubicBezTo>
                    <a:pt x="1425618" y="3648165"/>
                    <a:pt x="1708383" y="3546269"/>
                    <a:pt x="1909832" y="3353604"/>
                  </a:cubicBezTo>
                  <a:cubicBezTo>
                    <a:pt x="2100405" y="3171313"/>
                    <a:pt x="2205396" y="2918080"/>
                    <a:pt x="2205396" y="2640586"/>
                  </a:cubicBezTo>
                  <a:lnTo>
                    <a:pt x="2205396" y="0"/>
                  </a:lnTo>
                  <a:cubicBezTo>
                    <a:pt x="2159551" y="69855"/>
                    <a:pt x="2106428" y="135192"/>
                    <a:pt x="2046278" y="194589"/>
                  </a:cubicBezTo>
                  <a:lnTo>
                    <a:pt x="122392" y="2091789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BD9A5D33-B9A9-527D-292B-C2A340805DAB}"/>
                </a:ext>
              </a:extLst>
            </p:cNvPr>
            <p:cNvSpPr/>
            <p:nvPr/>
          </p:nvSpPr>
          <p:spPr>
            <a:xfrm>
              <a:off x="-1666533" y="1531407"/>
              <a:ext cx="3142974" cy="4573340"/>
            </a:xfrm>
            <a:custGeom>
              <a:avLst/>
              <a:gdLst>
                <a:gd name="connsiteX0" fmla="*/ 2681349 w 3142974"/>
                <a:gd name="connsiteY0" fmla="*/ 455268 h 4573340"/>
                <a:gd name="connsiteX1" fmla="*/ 257772 w 3142974"/>
                <a:gd name="connsiteY1" fmla="*/ 2845465 h 4573340"/>
                <a:gd name="connsiteX2" fmla="*/ 3200 w 3142974"/>
                <a:gd name="connsiteY2" fmla="*/ 3536063 h 4573340"/>
                <a:gd name="connsiteX3" fmla="*/ 340008 w 3142974"/>
                <a:gd name="connsiteY3" fmla="*/ 4234608 h 4573340"/>
                <a:gd name="connsiteX4" fmla="*/ 1096780 w 3142974"/>
                <a:gd name="connsiteY4" fmla="*/ 4573341 h 4573340"/>
                <a:gd name="connsiteX5" fmla="*/ 1805364 w 3142974"/>
                <a:gd name="connsiteY5" fmla="*/ 4282712 h 4573340"/>
                <a:gd name="connsiteX6" fmla="*/ 3112774 w 3142974"/>
                <a:gd name="connsiteY6" fmla="*/ 2993289 h 4573340"/>
                <a:gd name="connsiteX7" fmla="*/ 3112774 w 3142974"/>
                <a:gd name="connsiteY7" fmla="*/ 266200 h 4573340"/>
                <a:gd name="connsiteX8" fmla="*/ 3142975 w 3142974"/>
                <a:gd name="connsiteY8" fmla="*/ 0 h 4573340"/>
                <a:gd name="connsiteX9" fmla="*/ 2681349 w 3142974"/>
                <a:gd name="connsiteY9" fmla="*/ 455268 h 457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2974" h="4573340">
                  <a:moveTo>
                    <a:pt x="2681349" y="455268"/>
                  </a:moveTo>
                  <a:lnTo>
                    <a:pt x="257772" y="2845465"/>
                  </a:lnTo>
                  <a:cubicBezTo>
                    <a:pt x="71800" y="3028843"/>
                    <a:pt x="-18634" y="3274129"/>
                    <a:pt x="3200" y="3536063"/>
                  </a:cubicBezTo>
                  <a:cubicBezTo>
                    <a:pt x="24199" y="3787623"/>
                    <a:pt x="143830" y="4035669"/>
                    <a:pt x="340008" y="4234608"/>
                  </a:cubicBezTo>
                  <a:cubicBezTo>
                    <a:pt x="542879" y="4440324"/>
                    <a:pt x="839949" y="4573341"/>
                    <a:pt x="1096780" y="4573341"/>
                  </a:cubicBezTo>
                  <a:cubicBezTo>
                    <a:pt x="1353610" y="4573341"/>
                    <a:pt x="1615377" y="4470106"/>
                    <a:pt x="1805364" y="4282712"/>
                  </a:cubicBezTo>
                  <a:lnTo>
                    <a:pt x="3112774" y="2993289"/>
                  </a:lnTo>
                  <a:lnTo>
                    <a:pt x="3112774" y="266200"/>
                  </a:lnTo>
                  <a:cubicBezTo>
                    <a:pt x="3112774" y="175849"/>
                    <a:pt x="3123231" y="86753"/>
                    <a:pt x="3142975" y="0"/>
                  </a:cubicBezTo>
                  <a:lnTo>
                    <a:pt x="2681349" y="455268"/>
                  </a:lnTo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CA4893C-6F18-54D2-74C3-193BC05300A6}"/>
                </a:ext>
              </a:extLst>
            </p:cNvPr>
            <p:cNvSpPr/>
            <p:nvPr/>
          </p:nvSpPr>
          <p:spPr>
            <a:xfrm>
              <a:off x="1620751" y="770286"/>
              <a:ext cx="5439118" cy="5334462"/>
            </a:xfrm>
            <a:custGeom>
              <a:avLst/>
              <a:gdLst>
                <a:gd name="connsiteX0" fmla="*/ 4810009 w 5439118"/>
                <a:gd name="connsiteY0" fmla="*/ 82403 h 5334462"/>
                <a:gd name="connsiteX1" fmla="*/ 4405355 w 5439118"/>
                <a:gd name="connsiteY1" fmla="*/ 0 h 5334462"/>
                <a:gd name="connsiteX2" fmla="*/ 3698192 w 5439118"/>
                <a:gd name="connsiteY2" fmla="*/ 297990 h 5334462"/>
                <a:gd name="connsiteX3" fmla="*/ 2307292 w 5439118"/>
                <a:gd name="connsiteY3" fmla="*/ 1669566 h 5334462"/>
                <a:gd name="connsiteX4" fmla="*/ 2297504 w 5439118"/>
                <a:gd name="connsiteY4" fmla="*/ 1676677 h 5334462"/>
                <a:gd name="connsiteX5" fmla="*/ 2172017 w 5439118"/>
                <a:gd name="connsiteY5" fmla="*/ 1800407 h 5334462"/>
                <a:gd name="connsiteX6" fmla="*/ 2172017 w 5439118"/>
                <a:gd name="connsiteY6" fmla="*/ 1027322 h 5334462"/>
                <a:gd name="connsiteX7" fmla="*/ 1542991 w 5439118"/>
                <a:gd name="connsiteY7" fmla="*/ 82403 h 5334462"/>
                <a:gd name="connsiteX8" fmla="*/ 1114159 w 5439118"/>
                <a:gd name="connsiteY8" fmla="*/ 3012 h 5334462"/>
                <a:gd name="connsiteX9" fmla="*/ 358977 w 5439118"/>
                <a:gd name="connsiteY9" fmla="*/ 244700 h 5334462"/>
                <a:gd name="connsiteX10" fmla="*/ 353288 w 5439118"/>
                <a:gd name="connsiteY10" fmla="*/ 249469 h 5334462"/>
                <a:gd name="connsiteX11" fmla="*/ 353288 w 5439118"/>
                <a:gd name="connsiteY11" fmla="*/ 249469 h 5334462"/>
                <a:gd name="connsiteX12" fmla="*/ 192079 w 5439118"/>
                <a:gd name="connsiteY12" fmla="*/ 429334 h 5334462"/>
                <a:gd name="connsiteX13" fmla="*/ 0 w 5439118"/>
                <a:gd name="connsiteY13" fmla="*/ 1027238 h 5334462"/>
                <a:gd name="connsiteX14" fmla="*/ 0 w 5439118"/>
                <a:gd name="connsiteY14" fmla="*/ 4261797 h 5334462"/>
                <a:gd name="connsiteX15" fmla="*/ 474760 w 5439118"/>
                <a:gd name="connsiteY15" fmla="*/ 5125986 h 5334462"/>
                <a:gd name="connsiteX16" fmla="*/ 1104622 w 5439118"/>
                <a:gd name="connsiteY16" fmla="*/ 5334462 h 5334462"/>
                <a:gd name="connsiteX17" fmla="*/ 1807434 w 5439118"/>
                <a:gd name="connsiteY17" fmla="*/ 5037141 h 5334462"/>
                <a:gd name="connsiteX18" fmla="*/ 3210130 w 5439118"/>
                <a:gd name="connsiteY18" fmla="*/ 3653937 h 5334462"/>
                <a:gd name="connsiteX19" fmla="*/ 3210130 w 5439118"/>
                <a:gd name="connsiteY19" fmla="*/ 3656530 h 5334462"/>
                <a:gd name="connsiteX20" fmla="*/ 3212808 w 5439118"/>
                <a:gd name="connsiteY20" fmla="*/ 3653937 h 5334462"/>
                <a:gd name="connsiteX21" fmla="*/ 5136694 w 5439118"/>
                <a:gd name="connsiteY21" fmla="*/ 1756738 h 5334462"/>
                <a:gd name="connsiteX22" fmla="*/ 5418287 w 5439118"/>
                <a:gd name="connsiteY22" fmla="*/ 1240316 h 5334462"/>
                <a:gd name="connsiteX23" fmla="*/ 5439118 w 5439118"/>
                <a:gd name="connsiteY23" fmla="*/ 1097428 h 5334462"/>
                <a:gd name="connsiteX24" fmla="*/ 5439118 w 5439118"/>
                <a:gd name="connsiteY24" fmla="*/ 1027406 h 5334462"/>
                <a:gd name="connsiteX25" fmla="*/ 4810093 w 5439118"/>
                <a:gd name="connsiteY25" fmla="*/ 82487 h 533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9118" h="5334462">
                  <a:moveTo>
                    <a:pt x="4810009" y="82403"/>
                  </a:moveTo>
                  <a:cubicBezTo>
                    <a:pt x="4663524" y="23424"/>
                    <a:pt x="4528081" y="0"/>
                    <a:pt x="4405355" y="0"/>
                  </a:cubicBezTo>
                  <a:cubicBezTo>
                    <a:pt x="4048803" y="0"/>
                    <a:pt x="3799670" y="197935"/>
                    <a:pt x="3698192" y="297990"/>
                  </a:cubicBezTo>
                  <a:lnTo>
                    <a:pt x="2307292" y="1669566"/>
                  </a:lnTo>
                  <a:cubicBezTo>
                    <a:pt x="2304280" y="1672577"/>
                    <a:pt x="2300767" y="1674334"/>
                    <a:pt x="2297504" y="1676677"/>
                  </a:cubicBezTo>
                  <a:lnTo>
                    <a:pt x="2172017" y="1800407"/>
                  </a:lnTo>
                  <a:lnTo>
                    <a:pt x="2172017" y="1027322"/>
                  </a:lnTo>
                  <a:cubicBezTo>
                    <a:pt x="2172017" y="614302"/>
                    <a:pt x="1923970" y="241772"/>
                    <a:pt x="1542991" y="82403"/>
                  </a:cubicBezTo>
                  <a:cubicBezTo>
                    <a:pt x="1415329" y="29029"/>
                    <a:pt x="1266585" y="3012"/>
                    <a:pt x="1114159" y="3012"/>
                  </a:cubicBezTo>
                  <a:cubicBezTo>
                    <a:pt x="840848" y="3012"/>
                    <a:pt x="555657" y="86419"/>
                    <a:pt x="358977" y="244700"/>
                  </a:cubicBezTo>
                  <a:cubicBezTo>
                    <a:pt x="357137" y="246290"/>
                    <a:pt x="355129" y="247879"/>
                    <a:pt x="353288" y="249469"/>
                  </a:cubicBezTo>
                  <a:cubicBezTo>
                    <a:pt x="353288" y="249469"/>
                    <a:pt x="353288" y="249469"/>
                    <a:pt x="353288" y="249469"/>
                  </a:cubicBezTo>
                  <a:cubicBezTo>
                    <a:pt x="292302" y="303512"/>
                    <a:pt x="238509" y="363997"/>
                    <a:pt x="192079" y="429334"/>
                  </a:cubicBezTo>
                  <a:cubicBezTo>
                    <a:pt x="69353" y="601920"/>
                    <a:pt x="0" y="809225"/>
                    <a:pt x="0" y="1027238"/>
                  </a:cubicBezTo>
                  <a:lnTo>
                    <a:pt x="0" y="4261797"/>
                  </a:lnTo>
                  <a:cubicBezTo>
                    <a:pt x="0" y="4625208"/>
                    <a:pt x="189402" y="4944197"/>
                    <a:pt x="474760" y="5125986"/>
                  </a:cubicBezTo>
                  <a:cubicBezTo>
                    <a:pt x="706159" y="5278913"/>
                    <a:pt x="918650" y="5334462"/>
                    <a:pt x="1104622" y="5334462"/>
                  </a:cubicBezTo>
                  <a:cubicBezTo>
                    <a:pt x="1440426" y="5334462"/>
                    <a:pt x="1689643" y="5153342"/>
                    <a:pt x="1807434" y="5037141"/>
                  </a:cubicBezTo>
                  <a:lnTo>
                    <a:pt x="3210130" y="3653937"/>
                  </a:lnTo>
                  <a:lnTo>
                    <a:pt x="3210130" y="3656530"/>
                  </a:lnTo>
                  <a:lnTo>
                    <a:pt x="3212808" y="3653937"/>
                  </a:lnTo>
                  <a:lnTo>
                    <a:pt x="5136694" y="1756738"/>
                  </a:lnTo>
                  <a:cubicBezTo>
                    <a:pt x="5285021" y="1610503"/>
                    <a:pt x="5378215" y="1429969"/>
                    <a:pt x="5418287" y="1240316"/>
                  </a:cubicBezTo>
                  <a:cubicBezTo>
                    <a:pt x="5428243" y="1193049"/>
                    <a:pt x="5435855" y="1145447"/>
                    <a:pt x="5439118" y="1097428"/>
                  </a:cubicBezTo>
                  <a:lnTo>
                    <a:pt x="5439118" y="1027406"/>
                  </a:lnTo>
                  <a:cubicBezTo>
                    <a:pt x="5439118" y="614469"/>
                    <a:pt x="5193247" y="236669"/>
                    <a:pt x="4810093" y="82487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48308" y="1886179"/>
            <a:ext cx="2666156" cy="9140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48308" y="2923601"/>
            <a:ext cx="2666156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E38CB365-0219-E63F-74AC-2AE8262C7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486" y="196013"/>
            <a:ext cx="57115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A21C1FD-CED0-55D4-C214-0521DB22D65F}"/>
              </a:ext>
            </a:extLst>
          </p:cNvPr>
          <p:cNvSpPr/>
          <p:nvPr userDrawn="1"/>
        </p:nvSpPr>
        <p:spPr>
          <a:xfrm>
            <a:off x="465634" y="1027011"/>
            <a:ext cx="341610" cy="4169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D7C651F4-622F-BEF9-C0C9-AF2DD9009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0E3A263-F491-B47E-7E28-B92659C01950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rgbClr val="0C6D66"/>
                </a:solidFill>
              </a:rPr>
              <a:t>‹N°›</a:t>
            </a:fld>
            <a:endParaRPr lang="fr-FR" sz="525" dirty="0">
              <a:solidFill>
                <a:srgbClr val="0C6D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39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bg>
      <p:bgPr>
        <a:solidFill>
          <a:srgbClr val="0C6D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C108CAE9-20DA-D12A-1813-CF19EF5FBDB1}"/>
              </a:ext>
            </a:extLst>
          </p:cNvPr>
          <p:cNvGrpSpPr/>
          <p:nvPr userDrawn="1"/>
        </p:nvGrpSpPr>
        <p:grpSpPr>
          <a:xfrm>
            <a:off x="-616125" y="-1959990"/>
            <a:ext cx="6740501" cy="4120478"/>
            <a:chOff x="-821499" y="-2613320"/>
            <a:chExt cx="8987334" cy="5493971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46F2D55-F6E3-4E74-83EF-658794E60D75}"/>
                </a:ext>
              </a:extLst>
            </p:cNvPr>
            <p:cNvSpPr/>
            <p:nvPr/>
          </p:nvSpPr>
          <p:spPr>
            <a:xfrm>
              <a:off x="5872783" y="-876686"/>
              <a:ext cx="2271340" cy="3757250"/>
            </a:xfrm>
            <a:custGeom>
              <a:avLst/>
              <a:gdLst>
                <a:gd name="connsiteX0" fmla="*/ 126137 w 2271340"/>
                <a:gd name="connsiteY0" fmla="*/ 2154336 h 3757250"/>
                <a:gd name="connsiteX1" fmla="*/ 123381 w 2271340"/>
                <a:gd name="connsiteY1" fmla="*/ 2157007 h 3757250"/>
                <a:gd name="connsiteX2" fmla="*/ 0 w 2271340"/>
                <a:gd name="connsiteY2" fmla="*/ 2278578 h 3757250"/>
                <a:gd name="connsiteX3" fmla="*/ 0 w 2271340"/>
                <a:gd name="connsiteY3" fmla="*/ 2719544 h 3757250"/>
                <a:gd name="connsiteX4" fmla="*/ 308021 w 2271340"/>
                <a:gd name="connsiteY4" fmla="*/ 3453796 h 3757250"/>
                <a:gd name="connsiteX5" fmla="*/ 308021 w 2271340"/>
                <a:gd name="connsiteY5" fmla="*/ 3453796 h 3757250"/>
                <a:gd name="connsiteX6" fmla="*/ 1135670 w 2271340"/>
                <a:gd name="connsiteY6" fmla="*/ 3757251 h 3757250"/>
                <a:gd name="connsiteX7" fmla="*/ 1966939 w 2271340"/>
                <a:gd name="connsiteY7" fmla="*/ 3453882 h 3757250"/>
                <a:gd name="connsiteX8" fmla="*/ 2271340 w 2271340"/>
                <a:gd name="connsiteY8" fmla="*/ 2719544 h 3757250"/>
                <a:gd name="connsiteX9" fmla="*/ 2271340 w 2271340"/>
                <a:gd name="connsiteY9" fmla="*/ 0 h 3757250"/>
                <a:gd name="connsiteX10" fmla="*/ 2107465 w 2271340"/>
                <a:gd name="connsiteY10" fmla="*/ 200407 h 3757250"/>
                <a:gd name="connsiteX11" fmla="*/ 126052 w 2271340"/>
                <a:gd name="connsiteY11" fmla="*/ 2154336 h 37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1340" h="3757250">
                  <a:moveTo>
                    <a:pt x="126137" y="2154336"/>
                  </a:moveTo>
                  <a:lnTo>
                    <a:pt x="123381" y="2157007"/>
                  </a:lnTo>
                  <a:lnTo>
                    <a:pt x="0" y="2278578"/>
                  </a:lnTo>
                  <a:lnTo>
                    <a:pt x="0" y="2719544"/>
                  </a:lnTo>
                  <a:cubicBezTo>
                    <a:pt x="0" y="3004215"/>
                    <a:pt x="109422" y="3265020"/>
                    <a:pt x="308021" y="3453796"/>
                  </a:cubicBezTo>
                  <a:cubicBezTo>
                    <a:pt x="308021" y="3453796"/>
                    <a:pt x="308021" y="3453796"/>
                    <a:pt x="308021" y="3453796"/>
                  </a:cubicBezTo>
                  <a:cubicBezTo>
                    <a:pt x="516872" y="3652308"/>
                    <a:pt x="803094" y="3757251"/>
                    <a:pt x="1135670" y="3757251"/>
                  </a:cubicBezTo>
                  <a:cubicBezTo>
                    <a:pt x="1468247" y="3757251"/>
                    <a:pt x="1759466" y="3652308"/>
                    <a:pt x="1966939" y="3453882"/>
                  </a:cubicBezTo>
                  <a:cubicBezTo>
                    <a:pt x="2163211" y="3266140"/>
                    <a:pt x="2271340" y="3005335"/>
                    <a:pt x="2271340" y="2719544"/>
                  </a:cubicBezTo>
                  <a:lnTo>
                    <a:pt x="2271340" y="0"/>
                  </a:lnTo>
                  <a:cubicBezTo>
                    <a:pt x="2224125" y="71943"/>
                    <a:pt x="2169414" y="139234"/>
                    <a:pt x="2107465" y="200407"/>
                  </a:cubicBezTo>
                  <a:lnTo>
                    <a:pt x="126052" y="2154336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E4E81F-431D-8904-0D4F-46920B3824DD}"/>
                </a:ext>
              </a:extLst>
            </p:cNvPr>
            <p:cNvSpPr/>
            <p:nvPr/>
          </p:nvSpPr>
          <p:spPr>
            <a:xfrm>
              <a:off x="-821499" y="-1829439"/>
              <a:ext cx="3236954" cy="4710090"/>
            </a:xfrm>
            <a:custGeom>
              <a:avLst/>
              <a:gdLst>
                <a:gd name="connsiteX0" fmla="*/ 3205851 w 3236954"/>
                <a:gd name="connsiteY0" fmla="*/ 274160 h 4710090"/>
                <a:gd name="connsiteX1" fmla="*/ 3236954 w 3236954"/>
                <a:gd name="connsiteY1" fmla="*/ 0 h 4710090"/>
                <a:gd name="connsiteX2" fmla="*/ 265480 w 3236954"/>
                <a:gd name="connsiteY2" fmla="*/ 2930548 h 4710090"/>
                <a:gd name="connsiteX3" fmla="*/ 3296 w 3236954"/>
                <a:gd name="connsiteY3" fmla="*/ 3641796 h 4710090"/>
                <a:gd name="connsiteX4" fmla="*/ 350175 w 3236954"/>
                <a:gd name="connsiteY4" fmla="*/ 4361229 h 4710090"/>
                <a:gd name="connsiteX5" fmla="*/ 1129575 w 3236954"/>
                <a:gd name="connsiteY5" fmla="*/ 4710090 h 4710090"/>
                <a:gd name="connsiteX6" fmla="*/ 1859348 w 3236954"/>
                <a:gd name="connsiteY6" fmla="*/ 4410771 h 4710090"/>
                <a:gd name="connsiteX7" fmla="*/ 3205851 w 3236954"/>
                <a:gd name="connsiteY7" fmla="*/ 3082793 h 4710090"/>
                <a:gd name="connsiteX8" fmla="*/ 3205851 w 3236954"/>
                <a:gd name="connsiteY8" fmla="*/ 274160 h 471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6954" h="4710090">
                  <a:moveTo>
                    <a:pt x="3205851" y="274160"/>
                  </a:moveTo>
                  <a:cubicBezTo>
                    <a:pt x="3205851" y="181108"/>
                    <a:pt x="3216621" y="89348"/>
                    <a:pt x="3236954" y="0"/>
                  </a:cubicBezTo>
                  <a:lnTo>
                    <a:pt x="265480" y="2930548"/>
                  </a:lnTo>
                  <a:cubicBezTo>
                    <a:pt x="73947" y="3119410"/>
                    <a:pt x="-19192" y="3372031"/>
                    <a:pt x="3296" y="3641796"/>
                  </a:cubicBezTo>
                  <a:cubicBezTo>
                    <a:pt x="24922" y="3900878"/>
                    <a:pt x="148131" y="4156342"/>
                    <a:pt x="350175" y="4361229"/>
                  </a:cubicBezTo>
                  <a:cubicBezTo>
                    <a:pt x="559112" y="4573096"/>
                    <a:pt x="865065" y="4710090"/>
                    <a:pt x="1129575" y="4710090"/>
                  </a:cubicBezTo>
                  <a:cubicBezTo>
                    <a:pt x="1394085" y="4710090"/>
                    <a:pt x="1663679" y="4603769"/>
                    <a:pt x="1859348" y="4410771"/>
                  </a:cubicBezTo>
                  <a:lnTo>
                    <a:pt x="3205851" y="3082793"/>
                  </a:lnTo>
                  <a:lnTo>
                    <a:pt x="3205851" y="274160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7D664BE-D760-8A14-3009-73D859094AC8}"/>
                </a:ext>
              </a:extLst>
            </p:cNvPr>
            <p:cNvSpPr/>
            <p:nvPr/>
          </p:nvSpPr>
          <p:spPr>
            <a:xfrm>
              <a:off x="2564080" y="-2613320"/>
              <a:ext cx="5601755" cy="5493970"/>
            </a:xfrm>
            <a:custGeom>
              <a:avLst/>
              <a:gdLst>
                <a:gd name="connsiteX0" fmla="*/ 4953836 w 5601755"/>
                <a:gd name="connsiteY0" fmla="*/ 84867 h 5493970"/>
                <a:gd name="connsiteX1" fmla="*/ 4537082 w 5601755"/>
                <a:gd name="connsiteY1" fmla="*/ 0 h 5493970"/>
                <a:gd name="connsiteX2" fmla="*/ 3808774 w 5601755"/>
                <a:gd name="connsiteY2" fmla="*/ 306901 h 5493970"/>
                <a:gd name="connsiteX3" fmla="*/ 2376283 w 5601755"/>
                <a:gd name="connsiteY3" fmla="*/ 1719488 h 5493970"/>
                <a:gd name="connsiteX4" fmla="*/ 2366203 w 5601755"/>
                <a:gd name="connsiteY4" fmla="*/ 1726812 h 5493970"/>
                <a:gd name="connsiteX5" fmla="*/ 2236963 w 5601755"/>
                <a:gd name="connsiteY5" fmla="*/ 1854242 h 5493970"/>
                <a:gd name="connsiteX6" fmla="*/ 2236963 w 5601755"/>
                <a:gd name="connsiteY6" fmla="*/ 1058041 h 5493970"/>
                <a:gd name="connsiteX7" fmla="*/ 1589129 w 5601755"/>
                <a:gd name="connsiteY7" fmla="*/ 84867 h 5493970"/>
                <a:gd name="connsiteX8" fmla="*/ 1147474 w 5601755"/>
                <a:gd name="connsiteY8" fmla="*/ 3102 h 5493970"/>
                <a:gd name="connsiteX9" fmla="*/ 369711 w 5601755"/>
                <a:gd name="connsiteY9" fmla="*/ 252017 h 5493970"/>
                <a:gd name="connsiteX10" fmla="*/ 363852 w 5601755"/>
                <a:gd name="connsiteY10" fmla="*/ 256928 h 5493970"/>
                <a:gd name="connsiteX11" fmla="*/ 363852 w 5601755"/>
                <a:gd name="connsiteY11" fmla="*/ 256928 h 5493970"/>
                <a:gd name="connsiteX12" fmla="*/ 197823 w 5601755"/>
                <a:gd name="connsiteY12" fmla="*/ 442171 h 5493970"/>
                <a:gd name="connsiteX13" fmla="*/ 0 w 5601755"/>
                <a:gd name="connsiteY13" fmla="*/ 1057954 h 5493970"/>
                <a:gd name="connsiteX14" fmla="*/ 0 w 5601755"/>
                <a:gd name="connsiteY14" fmla="*/ 4389232 h 5493970"/>
                <a:gd name="connsiteX15" fmla="*/ 488956 w 5601755"/>
                <a:gd name="connsiteY15" fmla="*/ 5279261 h 5493970"/>
                <a:gd name="connsiteX16" fmla="*/ 1137652 w 5601755"/>
                <a:gd name="connsiteY16" fmla="*/ 5493971 h 5493970"/>
                <a:gd name="connsiteX17" fmla="*/ 1861479 w 5601755"/>
                <a:gd name="connsiteY17" fmla="*/ 5187759 h 5493970"/>
                <a:gd name="connsiteX18" fmla="*/ 3306118 w 5601755"/>
                <a:gd name="connsiteY18" fmla="*/ 3763195 h 5493970"/>
                <a:gd name="connsiteX19" fmla="*/ 3306118 w 5601755"/>
                <a:gd name="connsiteY19" fmla="*/ 3765866 h 5493970"/>
                <a:gd name="connsiteX20" fmla="*/ 3308875 w 5601755"/>
                <a:gd name="connsiteY20" fmla="*/ 3763195 h 5493970"/>
                <a:gd name="connsiteX21" fmla="*/ 5290289 w 5601755"/>
                <a:gd name="connsiteY21" fmla="*/ 1809267 h 5493970"/>
                <a:gd name="connsiteX22" fmla="*/ 5580302 w 5601755"/>
                <a:gd name="connsiteY22" fmla="*/ 1277403 h 5493970"/>
                <a:gd name="connsiteX23" fmla="*/ 5601756 w 5601755"/>
                <a:gd name="connsiteY23" fmla="*/ 1130242 h 5493970"/>
                <a:gd name="connsiteX24" fmla="*/ 5601756 w 5601755"/>
                <a:gd name="connsiteY24" fmla="*/ 1058127 h 5493970"/>
                <a:gd name="connsiteX25" fmla="*/ 4953922 w 5601755"/>
                <a:gd name="connsiteY25" fmla="*/ 84953 h 54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601755" h="5493970">
                  <a:moveTo>
                    <a:pt x="4953836" y="84867"/>
                  </a:moveTo>
                  <a:cubicBezTo>
                    <a:pt x="4802970" y="24125"/>
                    <a:pt x="4663478" y="0"/>
                    <a:pt x="4537082" y="0"/>
                  </a:cubicBezTo>
                  <a:cubicBezTo>
                    <a:pt x="4169869" y="0"/>
                    <a:pt x="3913286" y="203854"/>
                    <a:pt x="3808774" y="306901"/>
                  </a:cubicBezTo>
                  <a:lnTo>
                    <a:pt x="2376283" y="1719488"/>
                  </a:lnTo>
                  <a:cubicBezTo>
                    <a:pt x="2373182" y="1722590"/>
                    <a:pt x="2369563" y="1724399"/>
                    <a:pt x="2366203" y="1726812"/>
                  </a:cubicBezTo>
                  <a:lnTo>
                    <a:pt x="2236963" y="1854242"/>
                  </a:lnTo>
                  <a:lnTo>
                    <a:pt x="2236963" y="1058041"/>
                  </a:lnTo>
                  <a:cubicBezTo>
                    <a:pt x="2236963" y="632670"/>
                    <a:pt x="1981500" y="249001"/>
                    <a:pt x="1589129" y="84867"/>
                  </a:cubicBezTo>
                  <a:cubicBezTo>
                    <a:pt x="1457649" y="29897"/>
                    <a:pt x="1304457" y="3102"/>
                    <a:pt x="1147474" y="3102"/>
                  </a:cubicBezTo>
                  <a:cubicBezTo>
                    <a:pt x="865991" y="3102"/>
                    <a:pt x="572272" y="89003"/>
                    <a:pt x="369711" y="252017"/>
                  </a:cubicBezTo>
                  <a:cubicBezTo>
                    <a:pt x="367816" y="253654"/>
                    <a:pt x="365748" y="255291"/>
                    <a:pt x="363852" y="256928"/>
                  </a:cubicBezTo>
                  <a:cubicBezTo>
                    <a:pt x="363852" y="256928"/>
                    <a:pt x="363852" y="256928"/>
                    <a:pt x="363852" y="256928"/>
                  </a:cubicBezTo>
                  <a:cubicBezTo>
                    <a:pt x="301042" y="312587"/>
                    <a:pt x="245641" y="374881"/>
                    <a:pt x="197823" y="442171"/>
                  </a:cubicBezTo>
                  <a:cubicBezTo>
                    <a:pt x="71426" y="619919"/>
                    <a:pt x="0" y="833422"/>
                    <a:pt x="0" y="1057954"/>
                  </a:cubicBezTo>
                  <a:lnTo>
                    <a:pt x="0" y="4389232"/>
                  </a:lnTo>
                  <a:cubicBezTo>
                    <a:pt x="0" y="4763509"/>
                    <a:pt x="195065" y="5092036"/>
                    <a:pt x="488956" y="5279261"/>
                  </a:cubicBezTo>
                  <a:cubicBezTo>
                    <a:pt x="727274" y="5436761"/>
                    <a:pt x="946119" y="5493971"/>
                    <a:pt x="1137652" y="5493971"/>
                  </a:cubicBezTo>
                  <a:cubicBezTo>
                    <a:pt x="1483497" y="5493971"/>
                    <a:pt x="1740166" y="5307435"/>
                    <a:pt x="1861479" y="5187759"/>
                  </a:cubicBezTo>
                  <a:lnTo>
                    <a:pt x="3306118" y="3763195"/>
                  </a:lnTo>
                  <a:lnTo>
                    <a:pt x="3306118" y="3765866"/>
                  </a:lnTo>
                  <a:lnTo>
                    <a:pt x="3308875" y="3763195"/>
                  </a:lnTo>
                  <a:lnTo>
                    <a:pt x="5290289" y="1809267"/>
                  </a:lnTo>
                  <a:cubicBezTo>
                    <a:pt x="5443051" y="1658660"/>
                    <a:pt x="5539032" y="1472727"/>
                    <a:pt x="5580302" y="1277403"/>
                  </a:cubicBezTo>
                  <a:cubicBezTo>
                    <a:pt x="5590556" y="1228723"/>
                    <a:pt x="5598396" y="1179698"/>
                    <a:pt x="5601756" y="1130242"/>
                  </a:cubicBezTo>
                  <a:lnTo>
                    <a:pt x="5601756" y="1058127"/>
                  </a:lnTo>
                  <a:cubicBezTo>
                    <a:pt x="5601756" y="632843"/>
                    <a:pt x="5348533" y="243746"/>
                    <a:pt x="4953922" y="84953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1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B3B635-7EA2-A7E5-AA2E-904A98654032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D71FC5-59E5-4DF4-A63B-4CDF83CD59CC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D0CD493-06B9-696D-823B-29CBE3D42A3F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146617-B1D7-1F52-7D19-4522461D2DC5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76AD106-991D-33CD-2395-949EFAF85341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672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54749D2-695D-3272-0A83-5C5E69241F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3EAA8BD-DBE0-C37D-6736-6DD494075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672" y="3584585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8219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62E33B6-E349-D93E-9F41-F21B9352D9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2786" y="1490629"/>
            <a:ext cx="3643744" cy="18524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91198E7-4307-9930-5706-315EF9268CAE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</p:spTree>
    <p:extLst>
      <p:ext uri="{BB962C8B-B14F-4D97-AF65-F5344CB8AC3E}">
        <p14:creationId xmlns:p14="http://schemas.microsoft.com/office/powerpoint/2010/main" val="139981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32462FE-ECB9-73D1-59F0-5F4E6DDA9657}"/>
              </a:ext>
            </a:extLst>
          </p:cNvPr>
          <p:cNvGrpSpPr/>
          <p:nvPr userDrawn="1"/>
        </p:nvGrpSpPr>
        <p:grpSpPr>
          <a:xfrm>
            <a:off x="-616125" y="-1959990"/>
            <a:ext cx="6740501" cy="4120478"/>
            <a:chOff x="-821499" y="-2613320"/>
            <a:chExt cx="8987334" cy="549397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9D8CE588-E1AC-DA49-1C2F-E68445CC0AD3}"/>
                </a:ext>
              </a:extLst>
            </p:cNvPr>
            <p:cNvSpPr/>
            <p:nvPr/>
          </p:nvSpPr>
          <p:spPr>
            <a:xfrm>
              <a:off x="5872783" y="-876686"/>
              <a:ext cx="2271340" cy="3757250"/>
            </a:xfrm>
            <a:custGeom>
              <a:avLst/>
              <a:gdLst>
                <a:gd name="connsiteX0" fmla="*/ 126137 w 2271340"/>
                <a:gd name="connsiteY0" fmla="*/ 2154336 h 3757250"/>
                <a:gd name="connsiteX1" fmla="*/ 123381 w 2271340"/>
                <a:gd name="connsiteY1" fmla="*/ 2157007 h 3757250"/>
                <a:gd name="connsiteX2" fmla="*/ 0 w 2271340"/>
                <a:gd name="connsiteY2" fmla="*/ 2278578 h 3757250"/>
                <a:gd name="connsiteX3" fmla="*/ 0 w 2271340"/>
                <a:gd name="connsiteY3" fmla="*/ 2719544 h 3757250"/>
                <a:gd name="connsiteX4" fmla="*/ 308021 w 2271340"/>
                <a:gd name="connsiteY4" fmla="*/ 3453796 h 3757250"/>
                <a:gd name="connsiteX5" fmla="*/ 308021 w 2271340"/>
                <a:gd name="connsiteY5" fmla="*/ 3453796 h 3757250"/>
                <a:gd name="connsiteX6" fmla="*/ 1135670 w 2271340"/>
                <a:gd name="connsiteY6" fmla="*/ 3757251 h 3757250"/>
                <a:gd name="connsiteX7" fmla="*/ 1966939 w 2271340"/>
                <a:gd name="connsiteY7" fmla="*/ 3453882 h 3757250"/>
                <a:gd name="connsiteX8" fmla="*/ 2271340 w 2271340"/>
                <a:gd name="connsiteY8" fmla="*/ 2719544 h 3757250"/>
                <a:gd name="connsiteX9" fmla="*/ 2271340 w 2271340"/>
                <a:gd name="connsiteY9" fmla="*/ 0 h 3757250"/>
                <a:gd name="connsiteX10" fmla="*/ 2107465 w 2271340"/>
                <a:gd name="connsiteY10" fmla="*/ 200407 h 3757250"/>
                <a:gd name="connsiteX11" fmla="*/ 126052 w 2271340"/>
                <a:gd name="connsiteY11" fmla="*/ 2154336 h 37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1340" h="3757250">
                  <a:moveTo>
                    <a:pt x="126137" y="2154336"/>
                  </a:moveTo>
                  <a:lnTo>
                    <a:pt x="123381" y="2157007"/>
                  </a:lnTo>
                  <a:lnTo>
                    <a:pt x="0" y="2278578"/>
                  </a:lnTo>
                  <a:lnTo>
                    <a:pt x="0" y="2719544"/>
                  </a:lnTo>
                  <a:cubicBezTo>
                    <a:pt x="0" y="3004215"/>
                    <a:pt x="109422" y="3265020"/>
                    <a:pt x="308021" y="3453796"/>
                  </a:cubicBezTo>
                  <a:cubicBezTo>
                    <a:pt x="308021" y="3453796"/>
                    <a:pt x="308021" y="3453796"/>
                    <a:pt x="308021" y="3453796"/>
                  </a:cubicBezTo>
                  <a:cubicBezTo>
                    <a:pt x="516872" y="3652308"/>
                    <a:pt x="803094" y="3757251"/>
                    <a:pt x="1135670" y="3757251"/>
                  </a:cubicBezTo>
                  <a:cubicBezTo>
                    <a:pt x="1468247" y="3757251"/>
                    <a:pt x="1759466" y="3652308"/>
                    <a:pt x="1966939" y="3453882"/>
                  </a:cubicBezTo>
                  <a:cubicBezTo>
                    <a:pt x="2163211" y="3266140"/>
                    <a:pt x="2271340" y="3005335"/>
                    <a:pt x="2271340" y="2719544"/>
                  </a:cubicBezTo>
                  <a:lnTo>
                    <a:pt x="2271340" y="0"/>
                  </a:lnTo>
                  <a:cubicBezTo>
                    <a:pt x="2224125" y="71943"/>
                    <a:pt x="2169414" y="139234"/>
                    <a:pt x="2107465" y="200407"/>
                  </a:cubicBezTo>
                  <a:lnTo>
                    <a:pt x="126052" y="2154336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201BC8B-8EC5-7FF1-BDA8-27677D338CA9}"/>
                </a:ext>
              </a:extLst>
            </p:cNvPr>
            <p:cNvSpPr/>
            <p:nvPr/>
          </p:nvSpPr>
          <p:spPr>
            <a:xfrm>
              <a:off x="-821499" y="-1829439"/>
              <a:ext cx="3236954" cy="4710090"/>
            </a:xfrm>
            <a:custGeom>
              <a:avLst/>
              <a:gdLst>
                <a:gd name="connsiteX0" fmla="*/ 3205851 w 3236954"/>
                <a:gd name="connsiteY0" fmla="*/ 274160 h 4710090"/>
                <a:gd name="connsiteX1" fmla="*/ 3236954 w 3236954"/>
                <a:gd name="connsiteY1" fmla="*/ 0 h 4710090"/>
                <a:gd name="connsiteX2" fmla="*/ 265480 w 3236954"/>
                <a:gd name="connsiteY2" fmla="*/ 2930548 h 4710090"/>
                <a:gd name="connsiteX3" fmla="*/ 3296 w 3236954"/>
                <a:gd name="connsiteY3" fmla="*/ 3641796 h 4710090"/>
                <a:gd name="connsiteX4" fmla="*/ 350175 w 3236954"/>
                <a:gd name="connsiteY4" fmla="*/ 4361229 h 4710090"/>
                <a:gd name="connsiteX5" fmla="*/ 1129575 w 3236954"/>
                <a:gd name="connsiteY5" fmla="*/ 4710090 h 4710090"/>
                <a:gd name="connsiteX6" fmla="*/ 1859348 w 3236954"/>
                <a:gd name="connsiteY6" fmla="*/ 4410771 h 4710090"/>
                <a:gd name="connsiteX7" fmla="*/ 3205851 w 3236954"/>
                <a:gd name="connsiteY7" fmla="*/ 3082793 h 4710090"/>
                <a:gd name="connsiteX8" fmla="*/ 3205851 w 3236954"/>
                <a:gd name="connsiteY8" fmla="*/ 274160 h 471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6954" h="4710090">
                  <a:moveTo>
                    <a:pt x="3205851" y="274160"/>
                  </a:moveTo>
                  <a:cubicBezTo>
                    <a:pt x="3205851" y="181108"/>
                    <a:pt x="3216621" y="89348"/>
                    <a:pt x="3236954" y="0"/>
                  </a:cubicBezTo>
                  <a:lnTo>
                    <a:pt x="265480" y="2930548"/>
                  </a:lnTo>
                  <a:cubicBezTo>
                    <a:pt x="73947" y="3119410"/>
                    <a:pt x="-19192" y="3372031"/>
                    <a:pt x="3296" y="3641796"/>
                  </a:cubicBezTo>
                  <a:cubicBezTo>
                    <a:pt x="24922" y="3900878"/>
                    <a:pt x="148131" y="4156342"/>
                    <a:pt x="350175" y="4361229"/>
                  </a:cubicBezTo>
                  <a:cubicBezTo>
                    <a:pt x="559112" y="4573096"/>
                    <a:pt x="865065" y="4710090"/>
                    <a:pt x="1129575" y="4710090"/>
                  </a:cubicBezTo>
                  <a:cubicBezTo>
                    <a:pt x="1394085" y="4710090"/>
                    <a:pt x="1663679" y="4603769"/>
                    <a:pt x="1859348" y="4410771"/>
                  </a:cubicBezTo>
                  <a:lnTo>
                    <a:pt x="3205851" y="3082793"/>
                  </a:lnTo>
                  <a:lnTo>
                    <a:pt x="3205851" y="274160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3DBA697-415C-F7C4-FBF8-01F82CACFAD1}"/>
                </a:ext>
              </a:extLst>
            </p:cNvPr>
            <p:cNvSpPr/>
            <p:nvPr/>
          </p:nvSpPr>
          <p:spPr>
            <a:xfrm>
              <a:off x="2564080" y="-2613320"/>
              <a:ext cx="5601755" cy="5493970"/>
            </a:xfrm>
            <a:custGeom>
              <a:avLst/>
              <a:gdLst>
                <a:gd name="connsiteX0" fmla="*/ 4953836 w 5601755"/>
                <a:gd name="connsiteY0" fmla="*/ 84867 h 5493970"/>
                <a:gd name="connsiteX1" fmla="*/ 4537082 w 5601755"/>
                <a:gd name="connsiteY1" fmla="*/ 0 h 5493970"/>
                <a:gd name="connsiteX2" fmla="*/ 3808774 w 5601755"/>
                <a:gd name="connsiteY2" fmla="*/ 306901 h 5493970"/>
                <a:gd name="connsiteX3" fmla="*/ 2376283 w 5601755"/>
                <a:gd name="connsiteY3" fmla="*/ 1719488 h 5493970"/>
                <a:gd name="connsiteX4" fmla="*/ 2366203 w 5601755"/>
                <a:gd name="connsiteY4" fmla="*/ 1726812 h 5493970"/>
                <a:gd name="connsiteX5" fmla="*/ 2236963 w 5601755"/>
                <a:gd name="connsiteY5" fmla="*/ 1854242 h 5493970"/>
                <a:gd name="connsiteX6" fmla="*/ 2236963 w 5601755"/>
                <a:gd name="connsiteY6" fmla="*/ 1058041 h 5493970"/>
                <a:gd name="connsiteX7" fmla="*/ 1589129 w 5601755"/>
                <a:gd name="connsiteY7" fmla="*/ 84867 h 5493970"/>
                <a:gd name="connsiteX8" fmla="*/ 1147474 w 5601755"/>
                <a:gd name="connsiteY8" fmla="*/ 3102 h 5493970"/>
                <a:gd name="connsiteX9" fmla="*/ 369711 w 5601755"/>
                <a:gd name="connsiteY9" fmla="*/ 252017 h 5493970"/>
                <a:gd name="connsiteX10" fmla="*/ 363852 w 5601755"/>
                <a:gd name="connsiteY10" fmla="*/ 256928 h 5493970"/>
                <a:gd name="connsiteX11" fmla="*/ 363852 w 5601755"/>
                <a:gd name="connsiteY11" fmla="*/ 256928 h 5493970"/>
                <a:gd name="connsiteX12" fmla="*/ 197823 w 5601755"/>
                <a:gd name="connsiteY12" fmla="*/ 442171 h 5493970"/>
                <a:gd name="connsiteX13" fmla="*/ 0 w 5601755"/>
                <a:gd name="connsiteY13" fmla="*/ 1057954 h 5493970"/>
                <a:gd name="connsiteX14" fmla="*/ 0 w 5601755"/>
                <a:gd name="connsiteY14" fmla="*/ 4389232 h 5493970"/>
                <a:gd name="connsiteX15" fmla="*/ 488956 w 5601755"/>
                <a:gd name="connsiteY15" fmla="*/ 5279261 h 5493970"/>
                <a:gd name="connsiteX16" fmla="*/ 1137652 w 5601755"/>
                <a:gd name="connsiteY16" fmla="*/ 5493971 h 5493970"/>
                <a:gd name="connsiteX17" fmla="*/ 1861479 w 5601755"/>
                <a:gd name="connsiteY17" fmla="*/ 5187759 h 5493970"/>
                <a:gd name="connsiteX18" fmla="*/ 3306118 w 5601755"/>
                <a:gd name="connsiteY18" fmla="*/ 3763195 h 5493970"/>
                <a:gd name="connsiteX19" fmla="*/ 3306118 w 5601755"/>
                <a:gd name="connsiteY19" fmla="*/ 3765866 h 5493970"/>
                <a:gd name="connsiteX20" fmla="*/ 3308875 w 5601755"/>
                <a:gd name="connsiteY20" fmla="*/ 3763195 h 5493970"/>
                <a:gd name="connsiteX21" fmla="*/ 5290289 w 5601755"/>
                <a:gd name="connsiteY21" fmla="*/ 1809267 h 5493970"/>
                <a:gd name="connsiteX22" fmla="*/ 5580302 w 5601755"/>
                <a:gd name="connsiteY22" fmla="*/ 1277403 h 5493970"/>
                <a:gd name="connsiteX23" fmla="*/ 5601756 w 5601755"/>
                <a:gd name="connsiteY23" fmla="*/ 1130242 h 5493970"/>
                <a:gd name="connsiteX24" fmla="*/ 5601756 w 5601755"/>
                <a:gd name="connsiteY24" fmla="*/ 1058127 h 5493970"/>
                <a:gd name="connsiteX25" fmla="*/ 4953922 w 5601755"/>
                <a:gd name="connsiteY25" fmla="*/ 84953 h 54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601755" h="5493970">
                  <a:moveTo>
                    <a:pt x="4953836" y="84867"/>
                  </a:moveTo>
                  <a:cubicBezTo>
                    <a:pt x="4802970" y="24125"/>
                    <a:pt x="4663478" y="0"/>
                    <a:pt x="4537082" y="0"/>
                  </a:cubicBezTo>
                  <a:cubicBezTo>
                    <a:pt x="4169869" y="0"/>
                    <a:pt x="3913286" y="203854"/>
                    <a:pt x="3808774" y="306901"/>
                  </a:cubicBezTo>
                  <a:lnTo>
                    <a:pt x="2376283" y="1719488"/>
                  </a:lnTo>
                  <a:cubicBezTo>
                    <a:pt x="2373182" y="1722590"/>
                    <a:pt x="2369563" y="1724399"/>
                    <a:pt x="2366203" y="1726812"/>
                  </a:cubicBezTo>
                  <a:lnTo>
                    <a:pt x="2236963" y="1854242"/>
                  </a:lnTo>
                  <a:lnTo>
                    <a:pt x="2236963" y="1058041"/>
                  </a:lnTo>
                  <a:cubicBezTo>
                    <a:pt x="2236963" y="632670"/>
                    <a:pt x="1981500" y="249001"/>
                    <a:pt x="1589129" y="84867"/>
                  </a:cubicBezTo>
                  <a:cubicBezTo>
                    <a:pt x="1457649" y="29897"/>
                    <a:pt x="1304457" y="3102"/>
                    <a:pt x="1147474" y="3102"/>
                  </a:cubicBezTo>
                  <a:cubicBezTo>
                    <a:pt x="865991" y="3102"/>
                    <a:pt x="572272" y="89003"/>
                    <a:pt x="369711" y="252017"/>
                  </a:cubicBezTo>
                  <a:cubicBezTo>
                    <a:pt x="367816" y="253654"/>
                    <a:pt x="365748" y="255291"/>
                    <a:pt x="363852" y="256928"/>
                  </a:cubicBezTo>
                  <a:cubicBezTo>
                    <a:pt x="363852" y="256928"/>
                    <a:pt x="363852" y="256928"/>
                    <a:pt x="363852" y="256928"/>
                  </a:cubicBezTo>
                  <a:cubicBezTo>
                    <a:pt x="301042" y="312587"/>
                    <a:pt x="245641" y="374881"/>
                    <a:pt x="197823" y="442171"/>
                  </a:cubicBezTo>
                  <a:cubicBezTo>
                    <a:pt x="71426" y="619919"/>
                    <a:pt x="0" y="833422"/>
                    <a:pt x="0" y="1057954"/>
                  </a:cubicBezTo>
                  <a:lnTo>
                    <a:pt x="0" y="4389232"/>
                  </a:lnTo>
                  <a:cubicBezTo>
                    <a:pt x="0" y="4763509"/>
                    <a:pt x="195065" y="5092036"/>
                    <a:pt x="488956" y="5279261"/>
                  </a:cubicBezTo>
                  <a:cubicBezTo>
                    <a:pt x="727274" y="5436761"/>
                    <a:pt x="946119" y="5493971"/>
                    <a:pt x="1137652" y="5493971"/>
                  </a:cubicBezTo>
                  <a:cubicBezTo>
                    <a:pt x="1483497" y="5493971"/>
                    <a:pt x="1740166" y="5307435"/>
                    <a:pt x="1861479" y="5187759"/>
                  </a:cubicBezTo>
                  <a:lnTo>
                    <a:pt x="3306118" y="3763195"/>
                  </a:lnTo>
                  <a:lnTo>
                    <a:pt x="3306118" y="3765866"/>
                  </a:lnTo>
                  <a:lnTo>
                    <a:pt x="3308875" y="3763195"/>
                  </a:lnTo>
                  <a:lnTo>
                    <a:pt x="5290289" y="1809267"/>
                  </a:lnTo>
                  <a:cubicBezTo>
                    <a:pt x="5443051" y="1658660"/>
                    <a:pt x="5539032" y="1472727"/>
                    <a:pt x="5580302" y="1277403"/>
                  </a:cubicBezTo>
                  <a:cubicBezTo>
                    <a:pt x="5590556" y="1228723"/>
                    <a:pt x="5598396" y="1179698"/>
                    <a:pt x="5601756" y="1130242"/>
                  </a:cubicBezTo>
                  <a:lnTo>
                    <a:pt x="5601756" y="1058127"/>
                  </a:lnTo>
                  <a:cubicBezTo>
                    <a:pt x="5601756" y="632843"/>
                    <a:pt x="5348533" y="243746"/>
                    <a:pt x="4953922" y="84953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AC68C6F3-311E-EA42-0A0F-87298269D757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1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54749D2-695D-3272-0A83-5C5E69241F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37654" y="935510"/>
            <a:ext cx="3861302" cy="1776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accent4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91198E7-4307-9930-5706-315EF9268CAE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0CB2DA1-C72B-D7C5-6AB6-276245F739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8670" y="1160585"/>
            <a:ext cx="325936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879BE80-91D1-F63F-0DA2-E24A2A99F0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7654" y="2929187"/>
            <a:ext cx="3861302" cy="1776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accent4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0E63E19-B937-4DEB-1419-3FAACF8F20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071360" y="3269947"/>
            <a:ext cx="1427597" cy="139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825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E1DE3C9-E796-048A-9B4C-18A11FEC41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71360" y="4339443"/>
            <a:ext cx="1427597" cy="1268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7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165177A9-0400-6942-CC21-9B8ABC597C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82592" y="2445385"/>
            <a:ext cx="741908" cy="103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7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CEF68EFF-D0CB-DDA1-FD6C-B7EC548187B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4576" y="2445385"/>
            <a:ext cx="741908" cy="103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7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12D0D710-9EDB-A8EB-DDA3-086BCA3981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66560" y="2445385"/>
            <a:ext cx="741908" cy="103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7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6FC3760E-5AC9-1BF1-83AA-D323B3CAE27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758543" y="2445385"/>
            <a:ext cx="741908" cy="103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7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B8154AF-F2EC-FFB3-5EDC-8E7286359A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292051" y="1197830"/>
            <a:ext cx="1206906" cy="139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825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2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16FFB14-114A-5652-CE97-6669E506F58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3513586" cy="5143500"/>
          </a:xfrm>
          <a:custGeom>
            <a:avLst/>
            <a:gdLst>
              <a:gd name="connsiteX0" fmla="*/ 0 w 4684781"/>
              <a:gd name="connsiteY0" fmla="*/ 0 h 6858000"/>
              <a:gd name="connsiteX1" fmla="*/ 3641008 w 4684781"/>
              <a:gd name="connsiteY1" fmla="*/ 0 h 6858000"/>
              <a:gd name="connsiteX2" fmla="*/ 3791691 w 4684781"/>
              <a:gd name="connsiteY2" fmla="*/ 167298 h 6858000"/>
              <a:gd name="connsiteX3" fmla="*/ 3524126 w 4684781"/>
              <a:gd name="connsiteY3" fmla="*/ 5548346 h 6858000"/>
              <a:gd name="connsiteX4" fmla="*/ 2193069 w 4684781"/>
              <a:gd name="connsiteY4" fmla="*/ 6858000 h 6858000"/>
              <a:gd name="connsiteX5" fmla="*/ 0 w 4684781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4781" h="6858000">
                <a:moveTo>
                  <a:pt x="0" y="0"/>
                </a:moveTo>
                <a:lnTo>
                  <a:pt x="3641008" y="0"/>
                </a:lnTo>
                <a:lnTo>
                  <a:pt x="3791691" y="167298"/>
                </a:lnTo>
                <a:cubicBezTo>
                  <a:pt x="5018619" y="1639136"/>
                  <a:pt x="5029487" y="4039351"/>
                  <a:pt x="3524126" y="5548346"/>
                </a:cubicBezTo>
                <a:lnTo>
                  <a:pt x="219306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374E0BA-4D4C-BC3B-FEE0-1BA2B79769B3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  <a:solidFill>
            <a:schemeClr val="bg1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9760CDF-7C6B-1476-2349-7A2B0E9D7B3E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841558-8215-82EB-59E4-00C39B30BE61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92EECA-964D-B711-D9D2-D9E4064DFB1E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4BB8984A-7199-92B8-79F5-A513300349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3587" y="2160125"/>
            <a:ext cx="3794281" cy="9140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DDB51187-A0AE-DE21-AF3A-AB16123AF9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03587" y="3191709"/>
            <a:ext cx="3794281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69B89A5-7CB0-A3D0-2696-4A04F0D4D7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03587" y="1151185"/>
            <a:ext cx="379428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B60FDE6-0609-6637-19F9-15BC9D7E1C1B}"/>
              </a:ext>
            </a:extLst>
          </p:cNvPr>
          <p:cNvSpPr/>
          <p:nvPr userDrawn="1"/>
        </p:nvSpPr>
        <p:spPr>
          <a:xfrm>
            <a:off x="3903586" y="3628914"/>
            <a:ext cx="391478" cy="3428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>
              <a:solidFill>
                <a:schemeClr val="bg1"/>
              </a:solidFill>
            </a:endParaRP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45FEC2B-2043-F1E3-B8A7-3D1F7391A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4580341B-5308-6395-5728-BDEF57D85653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chemeClr val="accent5"/>
                </a:solidFill>
              </a:rPr>
              <a:t>‹N°›</a:t>
            </a:fld>
            <a:endParaRPr lang="fr-FR" sz="525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227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355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74479A4-C938-9E02-C93B-F41AAEA4D82C}"/>
              </a:ext>
            </a:extLst>
          </p:cNvPr>
          <p:cNvGrpSpPr/>
          <p:nvPr userDrawn="1"/>
        </p:nvGrpSpPr>
        <p:grpSpPr>
          <a:xfrm>
            <a:off x="-1249900" y="577714"/>
            <a:ext cx="6544802" cy="4000847"/>
            <a:chOff x="-1666533" y="770286"/>
            <a:chExt cx="8726402" cy="5334462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39F2CCA5-3E58-65F1-9130-3A1A12A9F981}"/>
                </a:ext>
              </a:extLst>
            </p:cNvPr>
            <p:cNvSpPr/>
            <p:nvPr/>
          </p:nvSpPr>
          <p:spPr>
            <a:xfrm>
              <a:off x="4833391" y="2456499"/>
              <a:ext cx="2205395" cy="3648164"/>
            </a:xfrm>
            <a:custGeom>
              <a:avLst/>
              <a:gdLst>
                <a:gd name="connsiteX0" fmla="*/ 122475 w 2205395"/>
                <a:gd name="connsiteY0" fmla="*/ 2091789 h 3648164"/>
                <a:gd name="connsiteX1" fmla="*/ 119799 w 2205395"/>
                <a:gd name="connsiteY1" fmla="*/ 2094382 h 3648164"/>
                <a:gd name="connsiteX2" fmla="*/ 0 w 2205395"/>
                <a:gd name="connsiteY2" fmla="*/ 2212424 h 3648164"/>
                <a:gd name="connsiteX3" fmla="*/ 0 w 2205395"/>
                <a:gd name="connsiteY3" fmla="*/ 2640586 h 3648164"/>
                <a:gd name="connsiteX4" fmla="*/ 299078 w 2205395"/>
                <a:gd name="connsiteY4" fmla="*/ 3353521 h 3648164"/>
                <a:gd name="connsiteX5" fmla="*/ 299078 w 2205395"/>
                <a:gd name="connsiteY5" fmla="*/ 3353521 h 3648164"/>
                <a:gd name="connsiteX6" fmla="*/ 1102698 w 2205395"/>
                <a:gd name="connsiteY6" fmla="*/ 3648165 h 3648164"/>
                <a:gd name="connsiteX7" fmla="*/ 1909832 w 2205395"/>
                <a:gd name="connsiteY7" fmla="*/ 3353604 h 3648164"/>
                <a:gd name="connsiteX8" fmla="*/ 2205396 w 2205395"/>
                <a:gd name="connsiteY8" fmla="*/ 2640586 h 3648164"/>
                <a:gd name="connsiteX9" fmla="*/ 2205396 w 2205395"/>
                <a:gd name="connsiteY9" fmla="*/ 0 h 3648164"/>
                <a:gd name="connsiteX10" fmla="*/ 2046278 w 2205395"/>
                <a:gd name="connsiteY10" fmla="*/ 194589 h 3648164"/>
                <a:gd name="connsiteX11" fmla="*/ 122392 w 2205395"/>
                <a:gd name="connsiteY11" fmla="*/ 2091789 h 3648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05395" h="3648164">
                  <a:moveTo>
                    <a:pt x="122475" y="2091789"/>
                  </a:moveTo>
                  <a:lnTo>
                    <a:pt x="119799" y="2094382"/>
                  </a:lnTo>
                  <a:lnTo>
                    <a:pt x="0" y="2212424"/>
                  </a:lnTo>
                  <a:lnTo>
                    <a:pt x="0" y="2640586"/>
                  </a:lnTo>
                  <a:cubicBezTo>
                    <a:pt x="0" y="2916992"/>
                    <a:pt x="106245" y="3170226"/>
                    <a:pt x="299078" y="3353521"/>
                  </a:cubicBezTo>
                  <a:cubicBezTo>
                    <a:pt x="299078" y="3353521"/>
                    <a:pt x="299078" y="3353521"/>
                    <a:pt x="299078" y="3353521"/>
                  </a:cubicBezTo>
                  <a:cubicBezTo>
                    <a:pt x="501865" y="3546269"/>
                    <a:pt x="779777" y="3648165"/>
                    <a:pt x="1102698" y="3648165"/>
                  </a:cubicBezTo>
                  <a:cubicBezTo>
                    <a:pt x="1425618" y="3648165"/>
                    <a:pt x="1708383" y="3546269"/>
                    <a:pt x="1909832" y="3353604"/>
                  </a:cubicBezTo>
                  <a:cubicBezTo>
                    <a:pt x="2100405" y="3171313"/>
                    <a:pt x="2205396" y="2918080"/>
                    <a:pt x="2205396" y="2640586"/>
                  </a:cubicBezTo>
                  <a:lnTo>
                    <a:pt x="2205396" y="0"/>
                  </a:lnTo>
                  <a:cubicBezTo>
                    <a:pt x="2159551" y="69855"/>
                    <a:pt x="2106428" y="135192"/>
                    <a:pt x="2046278" y="194589"/>
                  </a:cubicBezTo>
                  <a:lnTo>
                    <a:pt x="122392" y="2091789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BD9A5D33-B9A9-527D-292B-C2A340805DAB}"/>
                </a:ext>
              </a:extLst>
            </p:cNvPr>
            <p:cNvSpPr/>
            <p:nvPr/>
          </p:nvSpPr>
          <p:spPr>
            <a:xfrm>
              <a:off x="-1666533" y="1531407"/>
              <a:ext cx="3142974" cy="4573340"/>
            </a:xfrm>
            <a:custGeom>
              <a:avLst/>
              <a:gdLst>
                <a:gd name="connsiteX0" fmla="*/ 2681349 w 3142974"/>
                <a:gd name="connsiteY0" fmla="*/ 455268 h 4573340"/>
                <a:gd name="connsiteX1" fmla="*/ 257772 w 3142974"/>
                <a:gd name="connsiteY1" fmla="*/ 2845465 h 4573340"/>
                <a:gd name="connsiteX2" fmla="*/ 3200 w 3142974"/>
                <a:gd name="connsiteY2" fmla="*/ 3536063 h 4573340"/>
                <a:gd name="connsiteX3" fmla="*/ 340008 w 3142974"/>
                <a:gd name="connsiteY3" fmla="*/ 4234608 h 4573340"/>
                <a:gd name="connsiteX4" fmla="*/ 1096780 w 3142974"/>
                <a:gd name="connsiteY4" fmla="*/ 4573341 h 4573340"/>
                <a:gd name="connsiteX5" fmla="*/ 1805364 w 3142974"/>
                <a:gd name="connsiteY5" fmla="*/ 4282712 h 4573340"/>
                <a:gd name="connsiteX6" fmla="*/ 3112774 w 3142974"/>
                <a:gd name="connsiteY6" fmla="*/ 2993289 h 4573340"/>
                <a:gd name="connsiteX7" fmla="*/ 3112774 w 3142974"/>
                <a:gd name="connsiteY7" fmla="*/ 266200 h 4573340"/>
                <a:gd name="connsiteX8" fmla="*/ 3142975 w 3142974"/>
                <a:gd name="connsiteY8" fmla="*/ 0 h 4573340"/>
                <a:gd name="connsiteX9" fmla="*/ 2681349 w 3142974"/>
                <a:gd name="connsiteY9" fmla="*/ 455268 h 457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42974" h="4573340">
                  <a:moveTo>
                    <a:pt x="2681349" y="455268"/>
                  </a:moveTo>
                  <a:lnTo>
                    <a:pt x="257772" y="2845465"/>
                  </a:lnTo>
                  <a:cubicBezTo>
                    <a:pt x="71800" y="3028843"/>
                    <a:pt x="-18634" y="3274129"/>
                    <a:pt x="3200" y="3536063"/>
                  </a:cubicBezTo>
                  <a:cubicBezTo>
                    <a:pt x="24199" y="3787623"/>
                    <a:pt x="143830" y="4035669"/>
                    <a:pt x="340008" y="4234608"/>
                  </a:cubicBezTo>
                  <a:cubicBezTo>
                    <a:pt x="542879" y="4440324"/>
                    <a:pt x="839949" y="4573341"/>
                    <a:pt x="1096780" y="4573341"/>
                  </a:cubicBezTo>
                  <a:cubicBezTo>
                    <a:pt x="1353610" y="4573341"/>
                    <a:pt x="1615377" y="4470106"/>
                    <a:pt x="1805364" y="4282712"/>
                  </a:cubicBezTo>
                  <a:lnTo>
                    <a:pt x="3112774" y="2993289"/>
                  </a:lnTo>
                  <a:lnTo>
                    <a:pt x="3112774" y="266200"/>
                  </a:lnTo>
                  <a:cubicBezTo>
                    <a:pt x="3112774" y="175849"/>
                    <a:pt x="3123231" y="86753"/>
                    <a:pt x="3142975" y="0"/>
                  </a:cubicBezTo>
                  <a:lnTo>
                    <a:pt x="2681349" y="455268"/>
                  </a:lnTo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CA4893C-6F18-54D2-74C3-193BC05300A6}"/>
                </a:ext>
              </a:extLst>
            </p:cNvPr>
            <p:cNvSpPr/>
            <p:nvPr/>
          </p:nvSpPr>
          <p:spPr>
            <a:xfrm>
              <a:off x="1620751" y="770286"/>
              <a:ext cx="5439118" cy="5334462"/>
            </a:xfrm>
            <a:custGeom>
              <a:avLst/>
              <a:gdLst>
                <a:gd name="connsiteX0" fmla="*/ 4810009 w 5439118"/>
                <a:gd name="connsiteY0" fmla="*/ 82403 h 5334462"/>
                <a:gd name="connsiteX1" fmla="*/ 4405355 w 5439118"/>
                <a:gd name="connsiteY1" fmla="*/ 0 h 5334462"/>
                <a:gd name="connsiteX2" fmla="*/ 3698192 w 5439118"/>
                <a:gd name="connsiteY2" fmla="*/ 297990 h 5334462"/>
                <a:gd name="connsiteX3" fmla="*/ 2307292 w 5439118"/>
                <a:gd name="connsiteY3" fmla="*/ 1669566 h 5334462"/>
                <a:gd name="connsiteX4" fmla="*/ 2297504 w 5439118"/>
                <a:gd name="connsiteY4" fmla="*/ 1676677 h 5334462"/>
                <a:gd name="connsiteX5" fmla="*/ 2172017 w 5439118"/>
                <a:gd name="connsiteY5" fmla="*/ 1800407 h 5334462"/>
                <a:gd name="connsiteX6" fmla="*/ 2172017 w 5439118"/>
                <a:gd name="connsiteY6" fmla="*/ 1027322 h 5334462"/>
                <a:gd name="connsiteX7" fmla="*/ 1542991 w 5439118"/>
                <a:gd name="connsiteY7" fmla="*/ 82403 h 5334462"/>
                <a:gd name="connsiteX8" fmla="*/ 1114159 w 5439118"/>
                <a:gd name="connsiteY8" fmla="*/ 3012 h 5334462"/>
                <a:gd name="connsiteX9" fmla="*/ 358977 w 5439118"/>
                <a:gd name="connsiteY9" fmla="*/ 244700 h 5334462"/>
                <a:gd name="connsiteX10" fmla="*/ 353288 w 5439118"/>
                <a:gd name="connsiteY10" fmla="*/ 249469 h 5334462"/>
                <a:gd name="connsiteX11" fmla="*/ 353288 w 5439118"/>
                <a:gd name="connsiteY11" fmla="*/ 249469 h 5334462"/>
                <a:gd name="connsiteX12" fmla="*/ 192079 w 5439118"/>
                <a:gd name="connsiteY12" fmla="*/ 429334 h 5334462"/>
                <a:gd name="connsiteX13" fmla="*/ 0 w 5439118"/>
                <a:gd name="connsiteY13" fmla="*/ 1027238 h 5334462"/>
                <a:gd name="connsiteX14" fmla="*/ 0 w 5439118"/>
                <a:gd name="connsiteY14" fmla="*/ 4261797 h 5334462"/>
                <a:gd name="connsiteX15" fmla="*/ 474760 w 5439118"/>
                <a:gd name="connsiteY15" fmla="*/ 5125986 h 5334462"/>
                <a:gd name="connsiteX16" fmla="*/ 1104622 w 5439118"/>
                <a:gd name="connsiteY16" fmla="*/ 5334462 h 5334462"/>
                <a:gd name="connsiteX17" fmla="*/ 1807434 w 5439118"/>
                <a:gd name="connsiteY17" fmla="*/ 5037141 h 5334462"/>
                <a:gd name="connsiteX18" fmla="*/ 3210130 w 5439118"/>
                <a:gd name="connsiteY18" fmla="*/ 3653937 h 5334462"/>
                <a:gd name="connsiteX19" fmla="*/ 3210130 w 5439118"/>
                <a:gd name="connsiteY19" fmla="*/ 3656530 h 5334462"/>
                <a:gd name="connsiteX20" fmla="*/ 3212808 w 5439118"/>
                <a:gd name="connsiteY20" fmla="*/ 3653937 h 5334462"/>
                <a:gd name="connsiteX21" fmla="*/ 5136694 w 5439118"/>
                <a:gd name="connsiteY21" fmla="*/ 1756738 h 5334462"/>
                <a:gd name="connsiteX22" fmla="*/ 5418287 w 5439118"/>
                <a:gd name="connsiteY22" fmla="*/ 1240316 h 5334462"/>
                <a:gd name="connsiteX23" fmla="*/ 5439118 w 5439118"/>
                <a:gd name="connsiteY23" fmla="*/ 1097428 h 5334462"/>
                <a:gd name="connsiteX24" fmla="*/ 5439118 w 5439118"/>
                <a:gd name="connsiteY24" fmla="*/ 1027406 h 5334462"/>
                <a:gd name="connsiteX25" fmla="*/ 4810093 w 5439118"/>
                <a:gd name="connsiteY25" fmla="*/ 82487 h 5334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439118" h="5334462">
                  <a:moveTo>
                    <a:pt x="4810009" y="82403"/>
                  </a:moveTo>
                  <a:cubicBezTo>
                    <a:pt x="4663524" y="23424"/>
                    <a:pt x="4528081" y="0"/>
                    <a:pt x="4405355" y="0"/>
                  </a:cubicBezTo>
                  <a:cubicBezTo>
                    <a:pt x="4048803" y="0"/>
                    <a:pt x="3799670" y="197935"/>
                    <a:pt x="3698192" y="297990"/>
                  </a:cubicBezTo>
                  <a:lnTo>
                    <a:pt x="2307292" y="1669566"/>
                  </a:lnTo>
                  <a:cubicBezTo>
                    <a:pt x="2304280" y="1672577"/>
                    <a:pt x="2300767" y="1674334"/>
                    <a:pt x="2297504" y="1676677"/>
                  </a:cubicBezTo>
                  <a:lnTo>
                    <a:pt x="2172017" y="1800407"/>
                  </a:lnTo>
                  <a:lnTo>
                    <a:pt x="2172017" y="1027322"/>
                  </a:lnTo>
                  <a:cubicBezTo>
                    <a:pt x="2172017" y="614302"/>
                    <a:pt x="1923970" y="241772"/>
                    <a:pt x="1542991" y="82403"/>
                  </a:cubicBezTo>
                  <a:cubicBezTo>
                    <a:pt x="1415329" y="29029"/>
                    <a:pt x="1266585" y="3012"/>
                    <a:pt x="1114159" y="3012"/>
                  </a:cubicBezTo>
                  <a:cubicBezTo>
                    <a:pt x="840848" y="3012"/>
                    <a:pt x="555657" y="86419"/>
                    <a:pt x="358977" y="244700"/>
                  </a:cubicBezTo>
                  <a:cubicBezTo>
                    <a:pt x="357137" y="246290"/>
                    <a:pt x="355129" y="247879"/>
                    <a:pt x="353288" y="249469"/>
                  </a:cubicBezTo>
                  <a:cubicBezTo>
                    <a:pt x="353288" y="249469"/>
                    <a:pt x="353288" y="249469"/>
                    <a:pt x="353288" y="249469"/>
                  </a:cubicBezTo>
                  <a:cubicBezTo>
                    <a:pt x="292302" y="303512"/>
                    <a:pt x="238509" y="363997"/>
                    <a:pt x="192079" y="429334"/>
                  </a:cubicBezTo>
                  <a:cubicBezTo>
                    <a:pt x="69353" y="601920"/>
                    <a:pt x="0" y="809225"/>
                    <a:pt x="0" y="1027238"/>
                  </a:cubicBezTo>
                  <a:lnTo>
                    <a:pt x="0" y="4261797"/>
                  </a:lnTo>
                  <a:cubicBezTo>
                    <a:pt x="0" y="4625208"/>
                    <a:pt x="189402" y="4944197"/>
                    <a:pt x="474760" y="5125986"/>
                  </a:cubicBezTo>
                  <a:cubicBezTo>
                    <a:pt x="706159" y="5278913"/>
                    <a:pt x="918650" y="5334462"/>
                    <a:pt x="1104622" y="5334462"/>
                  </a:cubicBezTo>
                  <a:cubicBezTo>
                    <a:pt x="1440426" y="5334462"/>
                    <a:pt x="1689643" y="5153342"/>
                    <a:pt x="1807434" y="5037141"/>
                  </a:cubicBezTo>
                  <a:lnTo>
                    <a:pt x="3210130" y="3653937"/>
                  </a:lnTo>
                  <a:lnTo>
                    <a:pt x="3210130" y="3656530"/>
                  </a:lnTo>
                  <a:lnTo>
                    <a:pt x="3212808" y="3653937"/>
                  </a:lnTo>
                  <a:lnTo>
                    <a:pt x="5136694" y="1756738"/>
                  </a:lnTo>
                  <a:cubicBezTo>
                    <a:pt x="5285021" y="1610503"/>
                    <a:pt x="5378215" y="1429969"/>
                    <a:pt x="5418287" y="1240316"/>
                  </a:cubicBezTo>
                  <a:cubicBezTo>
                    <a:pt x="5428243" y="1193049"/>
                    <a:pt x="5435855" y="1145447"/>
                    <a:pt x="5439118" y="1097428"/>
                  </a:cubicBezTo>
                  <a:lnTo>
                    <a:pt x="5439118" y="1027406"/>
                  </a:lnTo>
                  <a:cubicBezTo>
                    <a:pt x="5439118" y="614469"/>
                    <a:pt x="5193247" y="236669"/>
                    <a:pt x="4810093" y="82487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48308" y="1886179"/>
            <a:ext cx="2666156" cy="914096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AC34D7C-D09A-D521-CED8-1B1BBA3DC499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BC5EF99-3B32-33F6-D9AF-E5A0D862BBF8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C77C5E8-FC6F-7B70-488E-5DBB8C82C40F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A9CEC9C-9729-CEE8-3E49-5E629D3B0567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48308" y="2923601"/>
            <a:ext cx="2666156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15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E38CB365-0219-E63F-74AC-2AE8262C7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8486" y="196013"/>
            <a:ext cx="571151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60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8A21C1FD-CED0-55D4-C214-0521DB22D65F}"/>
              </a:ext>
            </a:extLst>
          </p:cNvPr>
          <p:cNvSpPr/>
          <p:nvPr userDrawn="1"/>
        </p:nvSpPr>
        <p:spPr>
          <a:xfrm>
            <a:off x="465634" y="1027011"/>
            <a:ext cx="341610" cy="4169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D7C651F4-622F-BEF9-C0C9-AF2DD9009C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C0E3A263-F491-B47E-7E28-B92659C01950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>
                <a:solidFill>
                  <a:srgbClr val="0C6D66"/>
                </a:solidFill>
              </a:rPr>
              <a:t>‹N°›</a:t>
            </a:fld>
            <a:endParaRPr lang="fr-FR" sz="525" dirty="0">
              <a:solidFill>
                <a:srgbClr val="0C6D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606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bg>
      <p:bgPr>
        <a:solidFill>
          <a:srgbClr val="2A40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C108CAE9-20DA-D12A-1813-CF19EF5FBDB1}"/>
              </a:ext>
            </a:extLst>
          </p:cNvPr>
          <p:cNvGrpSpPr/>
          <p:nvPr userDrawn="1"/>
        </p:nvGrpSpPr>
        <p:grpSpPr>
          <a:xfrm>
            <a:off x="-616125" y="-1959990"/>
            <a:ext cx="6740501" cy="4120478"/>
            <a:chOff x="-821499" y="-2613320"/>
            <a:chExt cx="8987334" cy="5493971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46F2D55-F6E3-4E74-83EF-658794E60D75}"/>
                </a:ext>
              </a:extLst>
            </p:cNvPr>
            <p:cNvSpPr/>
            <p:nvPr/>
          </p:nvSpPr>
          <p:spPr>
            <a:xfrm>
              <a:off x="5872783" y="-876686"/>
              <a:ext cx="2271340" cy="3757250"/>
            </a:xfrm>
            <a:custGeom>
              <a:avLst/>
              <a:gdLst>
                <a:gd name="connsiteX0" fmla="*/ 126137 w 2271340"/>
                <a:gd name="connsiteY0" fmla="*/ 2154336 h 3757250"/>
                <a:gd name="connsiteX1" fmla="*/ 123381 w 2271340"/>
                <a:gd name="connsiteY1" fmla="*/ 2157007 h 3757250"/>
                <a:gd name="connsiteX2" fmla="*/ 0 w 2271340"/>
                <a:gd name="connsiteY2" fmla="*/ 2278578 h 3757250"/>
                <a:gd name="connsiteX3" fmla="*/ 0 w 2271340"/>
                <a:gd name="connsiteY3" fmla="*/ 2719544 h 3757250"/>
                <a:gd name="connsiteX4" fmla="*/ 308021 w 2271340"/>
                <a:gd name="connsiteY4" fmla="*/ 3453796 h 3757250"/>
                <a:gd name="connsiteX5" fmla="*/ 308021 w 2271340"/>
                <a:gd name="connsiteY5" fmla="*/ 3453796 h 3757250"/>
                <a:gd name="connsiteX6" fmla="*/ 1135670 w 2271340"/>
                <a:gd name="connsiteY6" fmla="*/ 3757251 h 3757250"/>
                <a:gd name="connsiteX7" fmla="*/ 1966939 w 2271340"/>
                <a:gd name="connsiteY7" fmla="*/ 3453882 h 3757250"/>
                <a:gd name="connsiteX8" fmla="*/ 2271340 w 2271340"/>
                <a:gd name="connsiteY8" fmla="*/ 2719544 h 3757250"/>
                <a:gd name="connsiteX9" fmla="*/ 2271340 w 2271340"/>
                <a:gd name="connsiteY9" fmla="*/ 0 h 3757250"/>
                <a:gd name="connsiteX10" fmla="*/ 2107465 w 2271340"/>
                <a:gd name="connsiteY10" fmla="*/ 200407 h 3757250"/>
                <a:gd name="connsiteX11" fmla="*/ 126052 w 2271340"/>
                <a:gd name="connsiteY11" fmla="*/ 2154336 h 37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71340" h="3757250">
                  <a:moveTo>
                    <a:pt x="126137" y="2154336"/>
                  </a:moveTo>
                  <a:lnTo>
                    <a:pt x="123381" y="2157007"/>
                  </a:lnTo>
                  <a:lnTo>
                    <a:pt x="0" y="2278578"/>
                  </a:lnTo>
                  <a:lnTo>
                    <a:pt x="0" y="2719544"/>
                  </a:lnTo>
                  <a:cubicBezTo>
                    <a:pt x="0" y="3004215"/>
                    <a:pt x="109422" y="3265020"/>
                    <a:pt x="308021" y="3453796"/>
                  </a:cubicBezTo>
                  <a:cubicBezTo>
                    <a:pt x="308021" y="3453796"/>
                    <a:pt x="308021" y="3453796"/>
                    <a:pt x="308021" y="3453796"/>
                  </a:cubicBezTo>
                  <a:cubicBezTo>
                    <a:pt x="516872" y="3652308"/>
                    <a:pt x="803094" y="3757251"/>
                    <a:pt x="1135670" y="3757251"/>
                  </a:cubicBezTo>
                  <a:cubicBezTo>
                    <a:pt x="1468247" y="3757251"/>
                    <a:pt x="1759466" y="3652308"/>
                    <a:pt x="1966939" y="3453882"/>
                  </a:cubicBezTo>
                  <a:cubicBezTo>
                    <a:pt x="2163211" y="3266140"/>
                    <a:pt x="2271340" y="3005335"/>
                    <a:pt x="2271340" y="2719544"/>
                  </a:cubicBezTo>
                  <a:lnTo>
                    <a:pt x="2271340" y="0"/>
                  </a:lnTo>
                  <a:cubicBezTo>
                    <a:pt x="2224125" y="71943"/>
                    <a:pt x="2169414" y="139234"/>
                    <a:pt x="2107465" y="200407"/>
                  </a:cubicBezTo>
                  <a:lnTo>
                    <a:pt x="126052" y="2154336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DE4E81F-431D-8904-0D4F-46920B3824DD}"/>
                </a:ext>
              </a:extLst>
            </p:cNvPr>
            <p:cNvSpPr/>
            <p:nvPr/>
          </p:nvSpPr>
          <p:spPr>
            <a:xfrm>
              <a:off x="-821499" y="-1829439"/>
              <a:ext cx="3236954" cy="4710090"/>
            </a:xfrm>
            <a:custGeom>
              <a:avLst/>
              <a:gdLst>
                <a:gd name="connsiteX0" fmla="*/ 3205851 w 3236954"/>
                <a:gd name="connsiteY0" fmla="*/ 274160 h 4710090"/>
                <a:gd name="connsiteX1" fmla="*/ 3236954 w 3236954"/>
                <a:gd name="connsiteY1" fmla="*/ 0 h 4710090"/>
                <a:gd name="connsiteX2" fmla="*/ 265480 w 3236954"/>
                <a:gd name="connsiteY2" fmla="*/ 2930548 h 4710090"/>
                <a:gd name="connsiteX3" fmla="*/ 3296 w 3236954"/>
                <a:gd name="connsiteY3" fmla="*/ 3641796 h 4710090"/>
                <a:gd name="connsiteX4" fmla="*/ 350175 w 3236954"/>
                <a:gd name="connsiteY4" fmla="*/ 4361229 h 4710090"/>
                <a:gd name="connsiteX5" fmla="*/ 1129575 w 3236954"/>
                <a:gd name="connsiteY5" fmla="*/ 4710090 h 4710090"/>
                <a:gd name="connsiteX6" fmla="*/ 1859348 w 3236954"/>
                <a:gd name="connsiteY6" fmla="*/ 4410771 h 4710090"/>
                <a:gd name="connsiteX7" fmla="*/ 3205851 w 3236954"/>
                <a:gd name="connsiteY7" fmla="*/ 3082793 h 4710090"/>
                <a:gd name="connsiteX8" fmla="*/ 3205851 w 3236954"/>
                <a:gd name="connsiteY8" fmla="*/ 274160 h 471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6954" h="4710090">
                  <a:moveTo>
                    <a:pt x="3205851" y="274160"/>
                  </a:moveTo>
                  <a:cubicBezTo>
                    <a:pt x="3205851" y="181108"/>
                    <a:pt x="3216621" y="89348"/>
                    <a:pt x="3236954" y="0"/>
                  </a:cubicBezTo>
                  <a:lnTo>
                    <a:pt x="265480" y="2930548"/>
                  </a:lnTo>
                  <a:cubicBezTo>
                    <a:pt x="73947" y="3119410"/>
                    <a:pt x="-19192" y="3372031"/>
                    <a:pt x="3296" y="3641796"/>
                  </a:cubicBezTo>
                  <a:cubicBezTo>
                    <a:pt x="24922" y="3900878"/>
                    <a:pt x="148131" y="4156342"/>
                    <a:pt x="350175" y="4361229"/>
                  </a:cubicBezTo>
                  <a:cubicBezTo>
                    <a:pt x="559112" y="4573096"/>
                    <a:pt x="865065" y="4710090"/>
                    <a:pt x="1129575" y="4710090"/>
                  </a:cubicBezTo>
                  <a:cubicBezTo>
                    <a:pt x="1394085" y="4710090"/>
                    <a:pt x="1663679" y="4603769"/>
                    <a:pt x="1859348" y="4410771"/>
                  </a:cubicBezTo>
                  <a:lnTo>
                    <a:pt x="3205851" y="3082793"/>
                  </a:lnTo>
                  <a:lnTo>
                    <a:pt x="3205851" y="274160"/>
                  </a:lnTo>
                  <a:close/>
                </a:path>
              </a:pathLst>
            </a:custGeom>
            <a:solidFill>
              <a:schemeClr val="bg1">
                <a:alpha val="23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7D664BE-D760-8A14-3009-73D859094AC8}"/>
                </a:ext>
              </a:extLst>
            </p:cNvPr>
            <p:cNvSpPr/>
            <p:nvPr/>
          </p:nvSpPr>
          <p:spPr>
            <a:xfrm>
              <a:off x="2564080" y="-2613320"/>
              <a:ext cx="5601755" cy="5493970"/>
            </a:xfrm>
            <a:custGeom>
              <a:avLst/>
              <a:gdLst>
                <a:gd name="connsiteX0" fmla="*/ 4953836 w 5601755"/>
                <a:gd name="connsiteY0" fmla="*/ 84867 h 5493970"/>
                <a:gd name="connsiteX1" fmla="*/ 4537082 w 5601755"/>
                <a:gd name="connsiteY1" fmla="*/ 0 h 5493970"/>
                <a:gd name="connsiteX2" fmla="*/ 3808774 w 5601755"/>
                <a:gd name="connsiteY2" fmla="*/ 306901 h 5493970"/>
                <a:gd name="connsiteX3" fmla="*/ 2376283 w 5601755"/>
                <a:gd name="connsiteY3" fmla="*/ 1719488 h 5493970"/>
                <a:gd name="connsiteX4" fmla="*/ 2366203 w 5601755"/>
                <a:gd name="connsiteY4" fmla="*/ 1726812 h 5493970"/>
                <a:gd name="connsiteX5" fmla="*/ 2236963 w 5601755"/>
                <a:gd name="connsiteY5" fmla="*/ 1854242 h 5493970"/>
                <a:gd name="connsiteX6" fmla="*/ 2236963 w 5601755"/>
                <a:gd name="connsiteY6" fmla="*/ 1058041 h 5493970"/>
                <a:gd name="connsiteX7" fmla="*/ 1589129 w 5601755"/>
                <a:gd name="connsiteY7" fmla="*/ 84867 h 5493970"/>
                <a:gd name="connsiteX8" fmla="*/ 1147474 w 5601755"/>
                <a:gd name="connsiteY8" fmla="*/ 3102 h 5493970"/>
                <a:gd name="connsiteX9" fmla="*/ 369711 w 5601755"/>
                <a:gd name="connsiteY9" fmla="*/ 252017 h 5493970"/>
                <a:gd name="connsiteX10" fmla="*/ 363852 w 5601755"/>
                <a:gd name="connsiteY10" fmla="*/ 256928 h 5493970"/>
                <a:gd name="connsiteX11" fmla="*/ 363852 w 5601755"/>
                <a:gd name="connsiteY11" fmla="*/ 256928 h 5493970"/>
                <a:gd name="connsiteX12" fmla="*/ 197823 w 5601755"/>
                <a:gd name="connsiteY12" fmla="*/ 442171 h 5493970"/>
                <a:gd name="connsiteX13" fmla="*/ 0 w 5601755"/>
                <a:gd name="connsiteY13" fmla="*/ 1057954 h 5493970"/>
                <a:gd name="connsiteX14" fmla="*/ 0 w 5601755"/>
                <a:gd name="connsiteY14" fmla="*/ 4389232 h 5493970"/>
                <a:gd name="connsiteX15" fmla="*/ 488956 w 5601755"/>
                <a:gd name="connsiteY15" fmla="*/ 5279261 h 5493970"/>
                <a:gd name="connsiteX16" fmla="*/ 1137652 w 5601755"/>
                <a:gd name="connsiteY16" fmla="*/ 5493971 h 5493970"/>
                <a:gd name="connsiteX17" fmla="*/ 1861479 w 5601755"/>
                <a:gd name="connsiteY17" fmla="*/ 5187759 h 5493970"/>
                <a:gd name="connsiteX18" fmla="*/ 3306118 w 5601755"/>
                <a:gd name="connsiteY18" fmla="*/ 3763195 h 5493970"/>
                <a:gd name="connsiteX19" fmla="*/ 3306118 w 5601755"/>
                <a:gd name="connsiteY19" fmla="*/ 3765866 h 5493970"/>
                <a:gd name="connsiteX20" fmla="*/ 3308875 w 5601755"/>
                <a:gd name="connsiteY20" fmla="*/ 3763195 h 5493970"/>
                <a:gd name="connsiteX21" fmla="*/ 5290289 w 5601755"/>
                <a:gd name="connsiteY21" fmla="*/ 1809267 h 5493970"/>
                <a:gd name="connsiteX22" fmla="*/ 5580302 w 5601755"/>
                <a:gd name="connsiteY22" fmla="*/ 1277403 h 5493970"/>
                <a:gd name="connsiteX23" fmla="*/ 5601756 w 5601755"/>
                <a:gd name="connsiteY23" fmla="*/ 1130242 h 5493970"/>
                <a:gd name="connsiteX24" fmla="*/ 5601756 w 5601755"/>
                <a:gd name="connsiteY24" fmla="*/ 1058127 h 5493970"/>
                <a:gd name="connsiteX25" fmla="*/ 4953922 w 5601755"/>
                <a:gd name="connsiteY25" fmla="*/ 84953 h 54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601755" h="5493970">
                  <a:moveTo>
                    <a:pt x="4953836" y="84867"/>
                  </a:moveTo>
                  <a:cubicBezTo>
                    <a:pt x="4802970" y="24125"/>
                    <a:pt x="4663478" y="0"/>
                    <a:pt x="4537082" y="0"/>
                  </a:cubicBezTo>
                  <a:cubicBezTo>
                    <a:pt x="4169869" y="0"/>
                    <a:pt x="3913286" y="203854"/>
                    <a:pt x="3808774" y="306901"/>
                  </a:cubicBezTo>
                  <a:lnTo>
                    <a:pt x="2376283" y="1719488"/>
                  </a:lnTo>
                  <a:cubicBezTo>
                    <a:pt x="2373182" y="1722590"/>
                    <a:pt x="2369563" y="1724399"/>
                    <a:pt x="2366203" y="1726812"/>
                  </a:cubicBezTo>
                  <a:lnTo>
                    <a:pt x="2236963" y="1854242"/>
                  </a:lnTo>
                  <a:lnTo>
                    <a:pt x="2236963" y="1058041"/>
                  </a:lnTo>
                  <a:cubicBezTo>
                    <a:pt x="2236963" y="632670"/>
                    <a:pt x="1981500" y="249001"/>
                    <a:pt x="1589129" y="84867"/>
                  </a:cubicBezTo>
                  <a:cubicBezTo>
                    <a:pt x="1457649" y="29897"/>
                    <a:pt x="1304457" y="3102"/>
                    <a:pt x="1147474" y="3102"/>
                  </a:cubicBezTo>
                  <a:cubicBezTo>
                    <a:pt x="865991" y="3102"/>
                    <a:pt x="572272" y="89003"/>
                    <a:pt x="369711" y="252017"/>
                  </a:cubicBezTo>
                  <a:cubicBezTo>
                    <a:pt x="367816" y="253654"/>
                    <a:pt x="365748" y="255291"/>
                    <a:pt x="363852" y="256928"/>
                  </a:cubicBezTo>
                  <a:cubicBezTo>
                    <a:pt x="363852" y="256928"/>
                    <a:pt x="363852" y="256928"/>
                    <a:pt x="363852" y="256928"/>
                  </a:cubicBezTo>
                  <a:cubicBezTo>
                    <a:pt x="301042" y="312587"/>
                    <a:pt x="245641" y="374881"/>
                    <a:pt x="197823" y="442171"/>
                  </a:cubicBezTo>
                  <a:cubicBezTo>
                    <a:pt x="71426" y="619919"/>
                    <a:pt x="0" y="833422"/>
                    <a:pt x="0" y="1057954"/>
                  </a:cubicBezTo>
                  <a:lnTo>
                    <a:pt x="0" y="4389232"/>
                  </a:lnTo>
                  <a:cubicBezTo>
                    <a:pt x="0" y="4763509"/>
                    <a:pt x="195065" y="5092036"/>
                    <a:pt x="488956" y="5279261"/>
                  </a:cubicBezTo>
                  <a:cubicBezTo>
                    <a:pt x="727274" y="5436761"/>
                    <a:pt x="946119" y="5493971"/>
                    <a:pt x="1137652" y="5493971"/>
                  </a:cubicBezTo>
                  <a:cubicBezTo>
                    <a:pt x="1483497" y="5493971"/>
                    <a:pt x="1740166" y="5307435"/>
                    <a:pt x="1861479" y="5187759"/>
                  </a:cubicBezTo>
                  <a:lnTo>
                    <a:pt x="3306118" y="3763195"/>
                  </a:lnTo>
                  <a:lnTo>
                    <a:pt x="3306118" y="3765866"/>
                  </a:lnTo>
                  <a:lnTo>
                    <a:pt x="3308875" y="3763195"/>
                  </a:lnTo>
                  <a:lnTo>
                    <a:pt x="5290289" y="1809267"/>
                  </a:lnTo>
                  <a:cubicBezTo>
                    <a:pt x="5443051" y="1658660"/>
                    <a:pt x="5539032" y="1472727"/>
                    <a:pt x="5580302" y="1277403"/>
                  </a:cubicBezTo>
                  <a:cubicBezTo>
                    <a:pt x="5590556" y="1228723"/>
                    <a:pt x="5598396" y="1179698"/>
                    <a:pt x="5601756" y="1130242"/>
                  </a:cubicBezTo>
                  <a:lnTo>
                    <a:pt x="5601756" y="1058127"/>
                  </a:lnTo>
                  <a:cubicBezTo>
                    <a:pt x="5601756" y="632843"/>
                    <a:pt x="5348533" y="243746"/>
                    <a:pt x="4953922" y="84953"/>
                  </a:cubicBezTo>
                  <a:close/>
                </a:path>
              </a:pathLst>
            </a:custGeom>
            <a:solidFill>
              <a:schemeClr val="bg1">
                <a:alpha val="48000"/>
              </a:schemeClr>
            </a:solidFill>
            <a:ln w="836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fr-FR" sz="1350"/>
            </a:p>
          </p:txBody>
        </p:sp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9C8EA7F-5476-BED7-7461-5D5A44EF99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672" y="129208"/>
            <a:ext cx="7238343" cy="5816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buNone/>
              <a:defRPr lang="en-US" sz="2100" kern="1200" dirty="0" smtClean="0">
                <a:solidFill>
                  <a:schemeClr val="bg1"/>
                </a:solidFill>
                <a:latin typeface="Raleway Semi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r>
              <a:rPr lang="fr-FR" dirty="0"/>
              <a:t>Titre </a:t>
            </a:r>
            <a:br>
              <a:rPr lang="fr-FR" dirty="0"/>
            </a:br>
            <a:r>
              <a:rPr lang="fr-FR" dirty="0"/>
              <a:t>de la slid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B3B635-7EA2-A7E5-AA2E-904A98654032}"/>
              </a:ext>
            </a:extLst>
          </p:cNvPr>
          <p:cNvSpPr/>
          <p:nvPr userDrawn="1"/>
        </p:nvSpPr>
        <p:spPr>
          <a:xfrm>
            <a:off x="0" y="801645"/>
            <a:ext cx="9144000" cy="4341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D71FC5-59E5-4DF4-A63B-4CDF83CD59CC}"/>
              </a:ext>
            </a:extLst>
          </p:cNvPr>
          <p:cNvGrpSpPr/>
          <p:nvPr userDrawn="1"/>
        </p:nvGrpSpPr>
        <p:grpSpPr>
          <a:xfrm>
            <a:off x="8587029" y="302542"/>
            <a:ext cx="384531" cy="235030"/>
            <a:chOff x="10042190" y="580707"/>
            <a:chExt cx="581898" cy="355663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D0CD493-06B9-696D-823B-29CBE3D42A3F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B146617-B1D7-1F52-7D19-4522461D2DC5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476AD106-991D-33CD-2395-949EFAF85341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0670D34-4324-7782-ADCA-5C690377F0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672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F54749D2-695D-3272-0A83-5C5E69241F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3EAA8BD-DBE0-C37D-6736-6DD494075D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672" y="3584585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5234940-41DA-A4CF-B395-71A370BE34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838219" y="1078254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62E33B6-E349-D93E-9F41-F21B9352D9C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62786" y="1490629"/>
            <a:ext cx="3643744" cy="18524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91198E7-4307-9930-5706-315EF9268CAE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</p:spTree>
    <p:extLst>
      <p:ext uri="{BB962C8B-B14F-4D97-AF65-F5344CB8AC3E}">
        <p14:creationId xmlns:p14="http://schemas.microsoft.com/office/powerpoint/2010/main" val="2741864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CCE9E0D0-A4E7-3E8D-2E1C-691FCDD4941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4572000" cy="51434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350">
                <a:solidFill>
                  <a:schemeClr val="accent5"/>
                </a:solidFill>
              </a:defRPr>
            </a:lvl1pPr>
          </a:lstStyle>
          <a:p>
            <a:r>
              <a:rPr lang="fr-FR" dirty="0"/>
              <a:t>Insert </a:t>
            </a:r>
            <a:r>
              <a:rPr lang="fr-FR" dirty="0" err="1"/>
              <a:t>picture</a:t>
            </a:r>
            <a:endParaRPr lang="fr-FR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F99E0407-15A7-8000-443F-F139C13A22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44920" y="1741025"/>
            <a:ext cx="3588541" cy="129497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3300" kern="1200" dirty="0" smtClean="0">
                <a:solidFill>
                  <a:schemeClr val="accent5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892C9D-FBB6-93C0-1D4E-AA10D95E1A2A}"/>
              </a:ext>
            </a:extLst>
          </p:cNvPr>
          <p:cNvGrpSpPr/>
          <p:nvPr userDrawn="1"/>
        </p:nvGrpSpPr>
        <p:grpSpPr>
          <a:xfrm>
            <a:off x="8587029" y="162465"/>
            <a:ext cx="384531" cy="235030"/>
            <a:chOff x="10042190" y="580707"/>
            <a:chExt cx="581898" cy="355663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9C2CE96-A878-1F8F-60A9-31850CD45D67}"/>
                </a:ext>
              </a:extLst>
            </p:cNvPr>
            <p:cNvSpPr/>
            <p:nvPr/>
          </p:nvSpPr>
          <p:spPr>
            <a:xfrm>
              <a:off x="10475499" y="693102"/>
              <a:ext cx="146970" cy="243268"/>
            </a:xfrm>
            <a:custGeom>
              <a:avLst/>
              <a:gdLst>
                <a:gd name="connsiteX0" fmla="*/ 8191 w 146970"/>
                <a:gd name="connsiteY0" fmla="*/ 139446 h 243268"/>
                <a:gd name="connsiteX1" fmla="*/ 8001 w 146970"/>
                <a:gd name="connsiteY1" fmla="*/ 139636 h 243268"/>
                <a:gd name="connsiteX2" fmla="*/ 0 w 146970"/>
                <a:gd name="connsiteY2" fmla="*/ 147542 h 243268"/>
                <a:gd name="connsiteX3" fmla="*/ 0 w 146970"/>
                <a:gd name="connsiteY3" fmla="*/ 176117 h 243268"/>
                <a:gd name="connsiteX4" fmla="*/ 19907 w 146970"/>
                <a:gd name="connsiteY4" fmla="*/ 223647 h 243268"/>
                <a:gd name="connsiteX5" fmla="*/ 19907 w 146970"/>
                <a:gd name="connsiteY5" fmla="*/ 223647 h 243268"/>
                <a:gd name="connsiteX6" fmla="*/ 73438 w 146970"/>
                <a:gd name="connsiteY6" fmla="*/ 243269 h 243268"/>
                <a:gd name="connsiteX7" fmla="*/ 127254 w 146970"/>
                <a:gd name="connsiteY7" fmla="*/ 223647 h 243268"/>
                <a:gd name="connsiteX8" fmla="*/ 146971 w 146970"/>
                <a:gd name="connsiteY8" fmla="*/ 176117 h 243268"/>
                <a:gd name="connsiteX9" fmla="*/ 146971 w 146970"/>
                <a:gd name="connsiteY9" fmla="*/ 0 h 243268"/>
                <a:gd name="connsiteX10" fmla="*/ 136398 w 146970"/>
                <a:gd name="connsiteY10" fmla="*/ 12954 h 243268"/>
                <a:gd name="connsiteX11" fmla="*/ 8096 w 146970"/>
                <a:gd name="connsiteY11" fmla="*/ 139446 h 2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970" h="243268">
                  <a:moveTo>
                    <a:pt x="8191" y="139446"/>
                  </a:moveTo>
                  <a:lnTo>
                    <a:pt x="8001" y="139636"/>
                  </a:lnTo>
                  <a:lnTo>
                    <a:pt x="0" y="147542"/>
                  </a:lnTo>
                  <a:lnTo>
                    <a:pt x="0" y="176117"/>
                  </a:lnTo>
                  <a:cubicBezTo>
                    <a:pt x="0" y="194501"/>
                    <a:pt x="7048" y="211455"/>
                    <a:pt x="19907" y="223647"/>
                  </a:cubicBezTo>
                  <a:cubicBezTo>
                    <a:pt x="19907" y="223647"/>
                    <a:pt x="19907" y="223647"/>
                    <a:pt x="19907" y="223647"/>
                  </a:cubicBezTo>
                  <a:cubicBezTo>
                    <a:pt x="33433" y="236506"/>
                    <a:pt x="51911" y="243269"/>
                    <a:pt x="73438" y="243269"/>
                  </a:cubicBezTo>
                  <a:cubicBezTo>
                    <a:pt x="94964" y="243269"/>
                    <a:pt x="113824" y="236506"/>
                    <a:pt x="127254" y="223647"/>
                  </a:cubicBezTo>
                  <a:cubicBezTo>
                    <a:pt x="139922" y="211455"/>
                    <a:pt x="146971" y="194596"/>
                    <a:pt x="146971" y="176117"/>
                  </a:cubicBezTo>
                  <a:lnTo>
                    <a:pt x="146971" y="0"/>
                  </a:lnTo>
                  <a:cubicBezTo>
                    <a:pt x="143923" y="4667"/>
                    <a:pt x="140398" y="9049"/>
                    <a:pt x="136398" y="12954"/>
                  </a:cubicBezTo>
                  <a:lnTo>
                    <a:pt x="8096" y="139446"/>
                  </a:lnTo>
                  <a:close/>
                </a:path>
              </a:pathLst>
            </a:custGeom>
            <a:solidFill>
              <a:srgbClr val="005CA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486234D-450F-3873-B374-3F8B15E3CF26}"/>
                </a:ext>
              </a:extLst>
            </p:cNvPr>
            <p:cNvSpPr/>
            <p:nvPr/>
          </p:nvSpPr>
          <p:spPr>
            <a:xfrm>
              <a:off x="10042190" y="631475"/>
              <a:ext cx="209566" cy="304895"/>
            </a:xfrm>
            <a:custGeom>
              <a:avLst/>
              <a:gdLst>
                <a:gd name="connsiteX0" fmla="*/ 207566 w 209566"/>
                <a:gd name="connsiteY0" fmla="*/ 17717 h 304895"/>
                <a:gd name="connsiteX1" fmla="*/ 209567 w 209566"/>
                <a:gd name="connsiteY1" fmla="*/ 0 h 304895"/>
                <a:gd name="connsiteX2" fmla="*/ 17162 w 209566"/>
                <a:gd name="connsiteY2" fmla="*/ 189643 h 304895"/>
                <a:gd name="connsiteX3" fmla="*/ 207 w 209566"/>
                <a:gd name="connsiteY3" fmla="*/ 235744 h 304895"/>
                <a:gd name="connsiteX4" fmla="*/ 22686 w 209566"/>
                <a:gd name="connsiteY4" fmla="*/ 282321 h 304895"/>
                <a:gd name="connsiteX5" fmla="*/ 73169 w 209566"/>
                <a:gd name="connsiteY5" fmla="*/ 304895 h 304895"/>
                <a:gd name="connsiteX6" fmla="*/ 120413 w 209566"/>
                <a:gd name="connsiteY6" fmla="*/ 285560 h 304895"/>
                <a:gd name="connsiteX7" fmla="*/ 207566 w 209566"/>
                <a:gd name="connsiteY7" fmla="*/ 199644 h 304895"/>
                <a:gd name="connsiteX8" fmla="*/ 207566 w 209566"/>
                <a:gd name="connsiteY8" fmla="*/ 17717 h 30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9566" h="304895">
                  <a:moveTo>
                    <a:pt x="207566" y="17717"/>
                  </a:moveTo>
                  <a:cubicBezTo>
                    <a:pt x="207566" y="11716"/>
                    <a:pt x="208233" y="5715"/>
                    <a:pt x="209567" y="0"/>
                  </a:cubicBezTo>
                  <a:lnTo>
                    <a:pt x="17162" y="189643"/>
                  </a:lnTo>
                  <a:cubicBezTo>
                    <a:pt x="4779" y="201930"/>
                    <a:pt x="-1222" y="218218"/>
                    <a:pt x="207" y="235744"/>
                  </a:cubicBezTo>
                  <a:cubicBezTo>
                    <a:pt x="1636" y="252508"/>
                    <a:pt x="9542" y="269081"/>
                    <a:pt x="22686" y="282321"/>
                  </a:cubicBezTo>
                  <a:cubicBezTo>
                    <a:pt x="36212" y="296037"/>
                    <a:pt x="56024" y="304895"/>
                    <a:pt x="73169" y="304895"/>
                  </a:cubicBezTo>
                  <a:cubicBezTo>
                    <a:pt x="90314" y="304895"/>
                    <a:pt x="107744" y="298037"/>
                    <a:pt x="120413" y="285560"/>
                  </a:cubicBezTo>
                  <a:lnTo>
                    <a:pt x="207566" y="199644"/>
                  </a:lnTo>
                  <a:lnTo>
                    <a:pt x="207566" y="17717"/>
                  </a:lnTo>
                  <a:close/>
                </a:path>
              </a:pathLst>
            </a:custGeom>
            <a:solidFill>
              <a:srgbClr val="005CA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0751A7C-DC53-6BFE-F1D6-2D4BC99DE79C}"/>
                </a:ext>
              </a:extLst>
            </p:cNvPr>
            <p:cNvSpPr/>
            <p:nvPr/>
          </p:nvSpPr>
          <p:spPr>
            <a:xfrm>
              <a:off x="10261377" y="580707"/>
              <a:ext cx="362711" cy="355663"/>
            </a:xfrm>
            <a:custGeom>
              <a:avLst/>
              <a:gdLst>
                <a:gd name="connsiteX0" fmla="*/ 320611 w 362711"/>
                <a:gd name="connsiteY0" fmla="*/ 5525 h 355663"/>
                <a:gd name="connsiteX1" fmla="*/ 293656 w 362711"/>
                <a:gd name="connsiteY1" fmla="*/ 0 h 355663"/>
                <a:gd name="connsiteX2" fmla="*/ 246507 w 362711"/>
                <a:gd name="connsiteY2" fmla="*/ 19907 h 355663"/>
                <a:gd name="connsiteX3" fmla="*/ 153829 w 362711"/>
                <a:gd name="connsiteY3" fmla="*/ 111347 h 355663"/>
                <a:gd name="connsiteX4" fmla="*/ 153162 w 362711"/>
                <a:gd name="connsiteY4" fmla="*/ 111824 h 355663"/>
                <a:gd name="connsiteX5" fmla="*/ 144780 w 362711"/>
                <a:gd name="connsiteY5" fmla="*/ 120110 h 355663"/>
                <a:gd name="connsiteX6" fmla="*/ 144780 w 362711"/>
                <a:gd name="connsiteY6" fmla="*/ 68485 h 355663"/>
                <a:gd name="connsiteX7" fmla="*/ 102870 w 362711"/>
                <a:gd name="connsiteY7" fmla="*/ 5525 h 355663"/>
                <a:gd name="connsiteX8" fmla="*/ 74295 w 362711"/>
                <a:gd name="connsiteY8" fmla="*/ 191 h 355663"/>
                <a:gd name="connsiteX9" fmla="*/ 23908 w 362711"/>
                <a:gd name="connsiteY9" fmla="*/ 16288 h 355663"/>
                <a:gd name="connsiteX10" fmla="*/ 23527 w 362711"/>
                <a:gd name="connsiteY10" fmla="*/ 16574 h 355663"/>
                <a:gd name="connsiteX11" fmla="*/ 23527 w 362711"/>
                <a:gd name="connsiteY11" fmla="*/ 16574 h 355663"/>
                <a:gd name="connsiteX12" fmla="*/ 12764 w 362711"/>
                <a:gd name="connsiteY12" fmla="*/ 28575 h 355663"/>
                <a:gd name="connsiteX13" fmla="*/ 0 w 362711"/>
                <a:gd name="connsiteY13" fmla="*/ 68390 h 355663"/>
                <a:gd name="connsiteX14" fmla="*/ 0 w 362711"/>
                <a:gd name="connsiteY14" fmla="*/ 284131 h 355663"/>
                <a:gd name="connsiteX15" fmla="*/ 31623 w 362711"/>
                <a:gd name="connsiteY15" fmla="*/ 341757 h 355663"/>
                <a:gd name="connsiteX16" fmla="*/ 73628 w 362711"/>
                <a:gd name="connsiteY16" fmla="*/ 355664 h 355663"/>
                <a:gd name="connsiteX17" fmla="*/ 120491 w 362711"/>
                <a:gd name="connsiteY17" fmla="*/ 335851 h 355663"/>
                <a:gd name="connsiteX18" fmla="*/ 214027 w 362711"/>
                <a:gd name="connsiteY18" fmla="*/ 243650 h 355663"/>
                <a:gd name="connsiteX19" fmla="*/ 214027 w 362711"/>
                <a:gd name="connsiteY19" fmla="*/ 243840 h 355663"/>
                <a:gd name="connsiteX20" fmla="*/ 214217 w 362711"/>
                <a:gd name="connsiteY20" fmla="*/ 243650 h 355663"/>
                <a:gd name="connsiteX21" fmla="*/ 342519 w 362711"/>
                <a:gd name="connsiteY21" fmla="*/ 117158 h 355663"/>
                <a:gd name="connsiteX22" fmla="*/ 361283 w 362711"/>
                <a:gd name="connsiteY22" fmla="*/ 82772 h 355663"/>
                <a:gd name="connsiteX23" fmla="*/ 362712 w 362711"/>
                <a:gd name="connsiteY23" fmla="*/ 73247 h 355663"/>
                <a:gd name="connsiteX24" fmla="*/ 362712 w 362711"/>
                <a:gd name="connsiteY24" fmla="*/ 68580 h 355663"/>
                <a:gd name="connsiteX25" fmla="*/ 320802 w 362711"/>
                <a:gd name="connsiteY25" fmla="*/ 5620 h 355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62711" h="355663">
                  <a:moveTo>
                    <a:pt x="320611" y="5525"/>
                  </a:moveTo>
                  <a:cubicBezTo>
                    <a:pt x="310801" y="1619"/>
                    <a:pt x="301847" y="0"/>
                    <a:pt x="293656" y="0"/>
                  </a:cubicBezTo>
                  <a:cubicBezTo>
                    <a:pt x="269843" y="0"/>
                    <a:pt x="253270" y="13240"/>
                    <a:pt x="246507" y="19907"/>
                  </a:cubicBezTo>
                  <a:lnTo>
                    <a:pt x="153829" y="111347"/>
                  </a:lnTo>
                  <a:cubicBezTo>
                    <a:pt x="153829" y="111347"/>
                    <a:pt x="153353" y="111633"/>
                    <a:pt x="153162" y="111824"/>
                  </a:cubicBezTo>
                  <a:lnTo>
                    <a:pt x="144780" y="120110"/>
                  </a:lnTo>
                  <a:lnTo>
                    <a:pt x="144780" y="68485"/>
                  </a:lnTo>
                  <a:cubicBezTo>
                    <a:pt x="144780" y="40958"/>
                    <a:pt x="128207" y="16097"/>
                    <a:pt x="102870" y="5525"/>
                  </a:cubicBezTo>
                  <a:cubicBezTo>
                    <a:pt x="94393" y="2000"/>
                    <a:pt x="84487" y="191"/>
                    <a:pt x="74295" y="191"/>
                  </a:cubicBezTo>
                  <a:cubicBezTo>
                    <a:pt x="56102" y="191"/>
                    <a:pt x="37052" y="5715"/>
                    <a:pt x="23908" y="16288"/>
                  </a:cubicBezTo>
                  <a:cubicBezTo>
                    <a:pt x="23813" y="16383"/>
                    <a:pt x="23622" y="16478"/>
                    <a:pt x="23527" y="16574"/>
                  </a:cubicBezTo>
                  <a:cubicBezTo>
                    <a:pt x="23527" y="16574"/>
                    <a:pt x="23527" y="16574"/>
                    <a:pt x="23527" y="16574"/>
                  </a:cubicBezTo>
                  <a:cubicBezTo>
                    <a:pt x="19431" y="20193"/>
                    <a:pt x="15907" y="24194"/>
                    <a:pt x="12764" y="28575"/>
                  </a:cubicBezTo>
                  <a:cubicBezTo>
                    <a:pt x="4572" y="40100"/>
                    <a:pt x="0" y="53912"/>
                    <a:pt x="0" y="68390"/>
                  </a:cubicBezTo>
                  <a:lnTo>
                    <a:pt x="0" y="284131"/>
                  </a:lnTo>
                  <a:cubicBezTo>
                    <a:pt x="0" y="308324"/>
                    <a:pt x="12668" y="329660"/>
                    <a:pt x="31623" y="341757"/>
                  </a:cubicBezTo>
                  <a:cubicBezTo>
                    <a:pt x="47054" y="351949"/>
                    <a:pt x="61246" y="355664"/>
                    <a:pt x="73628" y="355664"/>
                  </a:cubicBezTo>
                  <a:cubicBezTo>
                    <a:pt x="96012" y="355664"/>
                    <a:pt x="112586" y="343567"/>
                    <a:pt x="120491" y="335851"/>
                  </a:cubicBezTo>
                  <a:lnTo>
                    <a:pt x="214027" y="243650"/>
                  </a:lnTo>
                  <a:lnTo>
                    <a:pt x="214027" y="243840"/>
                  </a:lnTo>
                  <a:lnTo>
                    <a:pt x="214217" y="243650"/>
                  </a:lnTo>
                  <a:lnTo>
                    <a:pt x="342519" y="117158"/>
                  </a:lnTo>
                  <a:cubicBezTo>
                    <a:pt x="352425" y="107442"/>
                    <a:pt x="358616" y="95345"/>
                    <a:pt x="361283" y="82772"/>
                  </a:cubicBezTo>
                  <a:cubicBezTo>
                    <a:pt x="361950" y="79629"/>
                    <a:pt x="362426" y="76486"/>
                    <a:pt x="362712" y="73247"/>
                  </a:cubicBezTo>
                  <a:lnTo>
                    <a:pt x="362712" y="68580"/>
                  </a:lnTo>
                  <a:cubicBezTo>
                    <a:pt x="362712" y="41053"/>
                    <a:pt x="346329" y="15907"/>
                    <a:pt x="320802" y="5620"/>
                  </a:cubicBezTo>
                  <a:close/>
                </a:path>
              </a:pathLst>
            </a:custGeom>
            <a:solidFill>
              <a:srgbClr val="00B3D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sz="1350"/>
            </a:p>
          </p:txBody>
        </p:sp>
      </p:grp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EB7800F-CD4F-91DD-FD09-789C81DFA9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44919" y="3248109"/>
            <a:ext cx="3588541" cy="2030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0"/>
              </a:spcBef>
              <a:buNone/>
              <a:defRPr lang="en-US" sz="1200" kern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F3249276-7801-D066-831D-6E034FC27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7787" y="4785332"/>
            <a:ext cx="3498485" cy="934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buNone/>
              <a:defRPr lang="en-US" sz="67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r-FR" dirty="0"/>
              <a:t>Titre de la présentation I Titre du chapitre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B909B791-90BB-BCD7-CF2F-6042DFCAE833}"/>
              </a:ext>
            </a:extLst>
          </p:cNvPr>
          <p:cNvSpPr/>
          <p:nvPr userDrawn="1"/>
        </p:nvSpPr>
        <p:spPr>
          <a:xfrm>
            <a:off x="8804637" y="4747690"/>
            <a:ext cx="165854" cy="16585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fld id="{7B0A0FFD-6D68-4B95-B532-4924B6334288}" type="slidenum">
              <a:rPr lang="fr-FR" sz="525" smtClean="0"/>
              <a:t>‹N°›</a:t>
            </a:fld>
            <a:endParaRPr lang="fr-FR" sz="525" dirty="0"/>
          </a:p>
        </p:txBody>
      </p:sp>
    </p:spTree>
    <p:extLst>
      <p:ext uri="{BB962C8B-B14F-4D97-AF65-F5344CB8AC3E}">
        <p14:creationId xmlns:p14="http://schemas.microsoft.com/office/powerpoint/2010/main" val="420808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A3CEDD8-A95A-25F1-95A2-B03E80E641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43188" y="701041"/>
            <a:ext cx="3857625" cy="9140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buNone/>
              <a:defRPr lang="en-US" sz="3300" kern="1200" dirty="0" smtClean="0">
                <a:solidFill>
                  <a:schemeClr val="bg1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B63D796-8AD3-0439-7A03-9DDACB1BD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2534" y="2123041"/>
            <a:ext cx="1058934" cy="26290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wrap="none" lIns="72000" tIns="36000" rIns="72000" bIns="36000" anchor="ctr" anchorCtr="0">
            <a:sp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buNone/>
              <a:defRPr lang="en-US" sz="825" kern="1200" dirty="0" smtClean="0">
                <a:solidFill>
                  <a:schemeClr val="tx2"/>
                </a:solidFill>
                <a:latin typeface="Raleway ExtraBold" pitchFamily="2" charset="0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E55D614-5672-B06F-FB4F-77896B5441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48445" y="2482928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sp>
        <p:nvSpPr>
          <p:cNvPr id="34" name="Free-form: Shape 33">
            <a:extLst>
              <a:ext uri="{FF2B5EF4-FFF2-40B4-BE49-F238E27FC236}">
                <a16:creationId xmlns:a16="http://schemas.microsoft.com/office/drawing/2014/main" id="{344A2102-FAAE-84F8-F354-D8BF0164A832}"/>
              </a:ext>
            </a:extLst>
          </p:cNvPr>
          <p:cNvSpPr/>
          <p:nvPr userDrawn="1"/>
        </p:nvSpPr>
        <p:spPr>
          <a:xfrm>
            <a:off x="4428834" y="3939317"/>
            <a:ext cx="308980" cy="4819"/>
          </a:xfrm>
          <a:custGeom>
            <a:avLst/>
            <a:gdLst>
              <a:gd name="connsiteX0" fmla="*/ 0 w 411973"/>
              <a:gd name="connsiteY0" fmla="*/ 0 h 6425"/>
              <a:gd name="connsiteX1" fmla="*/ 411974 w 411973"/>
              <a:gd name="connsiteY1" fmla="*/ 0 h 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11973" h="6425">
                <a:moveTo>
                  <a:pt x="0" y="0"/>
                </a:moveTo>
                <a:lnTo>
                  <a:pt x="411974" y="0"/>
                </a:lnTo>
              </a:path>
            </a:pathLst>
          </a:custGeom>
          <a:ln w="57670" cap="rnd">
            <a:solidFill>
              <a:srgbClr val="FFFFFF"/>
            </a:solidFill>
            <a:prstDash val="solid"/>
            <a:miter/>
          </a:ln>
        </p:spPr>
        <p:txBody>
          <a:bodyPr rtlCol="0" anchor="ctr"/>
          <a:lstStyle/>
          <a:p>
            <a:endParaRPr lang="en-GB" sz="135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3D1321-7A57-D868-0432-1E50E80431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48445" y="4653435"/>
            <a:ext cx="3647111" cy="1776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685800" rtl="0" eaLnBrk="1" latinLnBrk="0" hangingPunct="1">
              <a:lnSpc>
                <a:spcPct val="120000"/>
              </a:lnSpc>
              <a:buNone/>
              <a:defRPr lang="en-US" sz="105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</a:lstStyle>
          <a:p>
            <a:pPr lvl="0"/>
            <a:endParaRPr lang="en-US" dirty="0"/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A1F316C7-19A4-4518-DCB3-59F1E229C5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83844" y="4245292"/>
            <a:ext cx="976313" cy="230765"/>
          </a:xfrm>
          <a:prstGeom prst="rect">
            <a:avLst/>
          </a:prstGeom>
        </p:spPr>
      </p:pic>
      <p:pic>
        <p:nvPicPr>
          <p:cNvPr id="40" name="Picture 39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0E7DE65A-8BEE-6B32-6E30-B684B09453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942908" y="4129549"/>
            <a:ext cx="2031485" cy="101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47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4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carre-vie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3800" y="1092200"/>
            <a:ext cx="2603500" cy="2603500"/>
          </a:xfrm>
          <a:prstGeom prst="rect">
            <a:avLst/>
          </a:prstGeom>
        </p:spPr>
      </p:pic>
      <p:sp>
        <p:nvSpPr>
          <p:cNvPr id="7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054600" y="11303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 b="0" i="0" cap="all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 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. 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86BECB34-367C-5051-C4FB-9E00E468C6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02BD149-A094-5EB4-18C5-81DA76181E26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C8532C41-FE8A-C35D-1C1E-115C7589B25B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FC8F501-102B-B40C-FA0F-C281B1FE1284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D867700-99B2-F955-2043-941A630D7362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</p:spTree>
    <p:extLst>
      <p:ext uri="{BB962C8B-B14F-4D97-AF65-F5344CB8AC3E}">
        <p14:creationId xmlns:p14="http://schemas.microsoft.com/office/powerpoint/2010/main" val="530093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andeau-slide-tx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50"/>
            <a:ext cx="9156700" cy="810768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0800" y="104379"/>
            <a:ext cx="8942376" cy="568721"/>
          </a:xfrm>
          <a:prstGeom prst="rect">
            <a:avLst/>
          </a:prstGeom>
          <a:ln>
            <a:solidFill>
              <a:srgbClr val="194895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cap="none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 (Arial blanc 28)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1104900"/>
            <a:ext cx="3987800" cy="3454400"/>
          </a:xfrm>
          <a:prstGeom prst="rect">
            <a:avLst/>
          </a:prstGeom>
        </p:spPr>
        <p:txBody>
          <a:bodyPr vert="horz"/>
          <a:lstStyle>
            <a:lvl1pPr marL="457200" indent="-457200">
              <a:buClr>
                <a:srgbClr val="194895"/>
              </a:buClr>
              <a:buSzPct val="100000"/>
              <a:buFont typeface="Wingdings" charset="2"/>
              <a:buChar char="§"/>
              <a:defRPr sz="2400" baseline="0">
                <a:solidFill>
                  <a:srgbClr val="595959"/>
                </a:solidFill>
                <a:latin typeface="Arial"/>
                <a:cs typeface="Arial"/>
              </a:defRPr>
            </a:lvl1pPr>
            <a:lvl2pPr marL="800100" indent="-342900">
              <a:buSzPct val="100000"/>
              <a:buFont typeface="Wingdings" charset="2"/>
              <a:buChar char="§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2pPr>
            <a:lvl3pPr marL="1257300" indent="-342900">
              <a:buClr>
                <a:srgbClr val="25976F"/>
              </a:buClr>
              <a:buSzPct val="100000"/>
              <a:buFont typeface="Wingdings" charset="2"/>
              <a:buChar char="§"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3pPr>
            <a:lvl4pPr marL="16573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Char char="q"/>
              <a:tabLst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4pPr>
            <a:lvl5pPr marL="1828800" indent="0">
              <a:buNone/>
              <a:defRPr sz="1800" i="1">
                <a:latin typeface="Arial"/>
                <a:cs typeface="Arial"/>
              </a:defRPr>
            </a:lvl5pPr>
          </a:lstStyle>
          <a:p>
            <a:pPr lvl="0"/>
            <a:r>
              <a:rPr lang="fr-FR"/>
              <a:t>Niveau 1 en Arial gris 24</a:t>
            </a:r>
          </a:p>
          <a:p>
            <a:pPr lvl="1"/>
            <a:r>
              <a:rPr lang="fr-FR"/>
              <a:t>Deuxième niveau en Arial gris 20</a:t>
            </a:r>
          </a:p>
          <a:p>
            <a:pPr lvl="2"/>
            <a:r>
              <a:rPr lang="fr-FR"/>
              <a:t>Troisième niveau en Arial gris 18</a:t>
            </a:r>
          </a:p>
        </p:txBody>
      </p:sp>
      <p:pic>
        <p:nvPicPr>
          <p:cNvPr id="13" name="Image 12" descr="Une image contenant texte&#10;&#10;Description générée automatiquement">
            <a:extLst>
              <a:ext uri="{FF2B5EF4-FFF2-40B4-BE49-F238E27FC236}">
                <a16:creationId xmlns:a16="http://schemas.microsoft.com/office/drawing/2014/main" id="{82EFBA54-38CC-4AFC-B7AD-C29F2E21E1B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965C555F-E564-4A6E-90D9-93D0AECDD78B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26B3243-C18D-432B-BA8A-FC07B2C19D77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BECCD9F9-1469-4E62-A88E-A1389696CE09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651FE67D-2102-F788-84B2-E5F59CFE9DC1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</p:spTree>
    <p:extLst>
      <p:ext uri="{BB962C8B-B14F-4D97-AF65-F5344CB8AC3E}">
        <p14:creationId xmlns:p14="http://schemas.microsoft.com/office/powerpoint/2010/main" val="2794388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8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1104900"/>
            <a:ext cx="3987800" cy="3454400"/>
          </a:xfrm>
          <a:prstGeom prst="rect">
            <a:avLst/>
          </a:prstGeom>
        </p:spPr>
        <p:txBody>
          <a:bodyPr vert="horz"/>
          <a:lstStyle>
            <a:lvl1pPr marL="457200" indent="-457200">
              <a:buClr>
                <a:srgbClr val="194895"/>
              </a:buClr>
              <a:buSzPct val="100000"/>
              <a:buFont typeface="Wingdings" charset="2"/>
              <a:buChar char="§"/>
              <a:defRPr sz="2400" baseline="0">
                <a:solidFill>
                  <a:srgbClr val="595959"/>
                </a:solidFill>
                <a:latin typeface="Arial"/>
                <a:cs typeface="Arial"/>
              </a:defRPr>
            </a:lvl1pPr>
            <a:lvl2pPr marL="800100" indent="-342900">
              <a:buSzPct val="100000"/>
              <a:buFont typeface="Wingdings" charset="2"/>
              <a:buChar char="§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2pPr>
            <a:lvl3pPr marL="1257300" indent="-342900">
              <a:buClr>
                <a:srgbClr val="25976F"/>
              </a:buClr>
              <a:buSzPct val="100000"/>
              <a:buFont typeface="Wingdings" charset="2"/>
              <a:buChar char="§"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3pPr>
            <a:lvl4pPr marL="16573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Char char="q"/>
              <a:tabLst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4pPr>
            <a:lvl5pPr marL="1828800" indent="0">
              <a:buNone/>
              <a:defRPr sz="1800" i="1">
                <a:latin typeface="Arial"/>
                <a:cs typeface="Arial"/>
              </a:defRPr>
            </a:lvl5pPr>
          </a:lstStyle>
          <a:p>
            <a:pPr lvl="0"/>
            <a:r>
              <a:rPr lang="fr-FR"/>
              <a:t>Niveau 1 en Arial gris 24</a:t>
            </a:r>
          </a:p>
          <a:p>
            <a:pPr lvl="1"/>
            <a:r>
              <a:rPr lang="fr-FR"/>
              <a:t>Deuxième niveau en Arial gris 20</a:t>
            </a:r>
          </a:p>
          <a:p>
            <a:pPr lvl="2"/>
            <a:r>
              <a:rPr lang="fr-FR"/>
              <a:t>Troisième niveau en Arial gris 18</a:t>
            </a:r>
          </a:p>
        </p:txBody>
      </p:sp>
      <p:pic>
        <p:nvPicPr>
          <p:cNvPr id="6" name="Image 5" descr="bandeau-slide-tx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50"/>
            <a:ext cx="9156700" cy="810768"/>
          </a:xfrm>
          <a:prstGeom prst="rect">
            <a:avLst/>
          </a:prstGeom>
        </p:spPr>
      </p:pic>
      <p:pic>
        <p:nvPicPr>
          <p:cNvPr id="7" name="Image 6" descr="carre-vierge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7200" y="1143000"/>
            <a:ext cx="3060700" cy="3060700"/>
          </a:xfrm>
          <a:prstGeom prst="rect">
            <a:avLst/>
          </a:prstGeom>
        </p:spPr>
      </p:pic>
      <p:sp>
        <p:nvSpPr>
          <p:cNvPr id="12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0800" y="104379"/>
            <a:ext cx="8942376" cy="568721"/>
          </a:xfrm>
          <a:prstGeom prst="rect">
            <a:avLst/>
          </a:prstGeom>
          <a:ln>
            <a:solidFill>
              <a:srgbClr val="194895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cap="none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 (Arial blanc 28)</a:t>
            </a:r>
          </a:p>
        </p:txBody>
      </p:sp>
      <p:pic>
        <p:nvPicPr>
          <p:cNvPr id="13" name="Image 12" descr="Une image contenant texte&#10;&#10;Description générée automatiquement">
            <a:extLst>
              <a:ext uri="{FF2B5EF4-FFF2-40B4-BE49-F238E27FC236}">
                <a16:creationId xmlns:a16="http://schemas.microsoft.com/office/drawing/2014/main" id="{EEF56256-3F48-41DA-B749-D5304FACF35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513108" y="4523662"/>
            <a:ext cx="1480068" cy="511695"/>
          </a:xfrm>
          <a:prstGeom prst="rect">
            <a:avLst/>
          </a:prstGeom>
        </p:spPr>
      </p:pic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CA5F4E28-7199-48BE-82B1-9CC239DDB5DB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C5FF4B0A-2636-4A42-BAF4-DFFE23A85538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649B5EBB-90D3-40E4-AB90-190B6D539B21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10E67716-C66F-1715-BDBC-81436D642AF4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</p:spTree>
    <p:extLst>
      <p:ext uri="{BB962C8B-B14F-4D97-AF65-F5344CB8AC3E}">
        <p14:creationId xmlns:p14="http://schemas.microsoft.com/office/powerpoint/2010/main" val="42707814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bandeau-slide-txt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50"/>
            <a:ext cx="9156700" cy="810768"/>
          </a:xfrm>
          <a:prstGeom prst="rect">
            <a:avLst/>
          </a:prstGeom>
        </p:spPr>
      </p:pic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0800" y="104379"/>
            <a:ext cx="8942376" cy="568721"/>
          </a:xfrm>
          <a:prstGeom prst="rect">
            <a:avLst/>
          </a:prstGeom>
          <a:ln>
            <a:solidFill>
              <a:srgbClr val="194895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800" cap="none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fr-FR"/>
              <a:t>Cliquez et modifiez le titre (Arial blanc 28)</a:t>
            </a:r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1104900"/>
            <a:ext cx="8178800" cy="3454400"/>
          </a:xfrm>
          <a:prstGeom prst="rect">
            <a:avLst/>
          </a:prstGeom>
        </p:spPr>
        <p:txBody>
          <a:bodyPr vert="horz"/>
          <a:lstStyle>
            <a:lvl1pPr marL="457200" indent="-457200">
              <a:buClr>
                <a:srgbClr val="194895"/>
              </a:buClr>
              <a:buSzPct val="100000"/>
              <a:buFont typeface="Wingdings" charset="2"/>
              <a:buChar char="§"/>
              <a:defRPr sz="2400" baseline="0">
                <a:solidFill>
                  <a:srgbClr val="595959"/>
                </a:solidFill>
                <a:latin typeface="Arial"/>
                <a:cs typeface="Arial"/>
              </a:defRPr>
            </a:lvl1pPr>
            <a:lvl2pPr marL="800100" indent="-342900">
              <a:buSzPct val="100000"/>
              <a:buFont typeface="Wingdings" charset="2"/>
              <a:buChar char="§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2pPr>
            <a:lvl3pPr marL="1257300" indent="-342900">
              <a:buClr>
                <a:srgbClr val="25976F"/>
              </a:buClr>
              <a:buSzPct val="100000"/>
              <a:buFont typeface="Wingdings" charset="2"/>
              <a:buChar char="§"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3pPr>
            <a:lvl4pPr marL="16573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2"/>
              <a:buChar char="q"/>
              <a:tabLst/>
              <a:defRPr sz="1800" i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4pPr>
            <a:lvl5pPr marL="1828800" indent="0">
              <a:buNone/>
              <a:defRPr sz="1800" i="1">
                <a:latin typeface="Arial"/>
                <a:cs typeface="Arial"/>
              </a:defRPr>
            </a:lvl5pPr>
          </a:lstStyle>
          <a:p>
            <a:pPr lvl="0"/>
            <a:r>
              <a:rPr lang="fr-FR"/>
              <a:t>Niveau 1 en Arial gris 24</a:t>
            </a:r>
          </a:p>
          <a:p>
            <a:pPr lvl="1"/>
            <a:r>
              <a:rPr lang="fr-FR"/>
              <a:t>Deuxième niveau en Arial gris 20</a:t>
            </a:r>
          </a:p>
          <a:p>
            <a:pPr lvl="2"/>
            <a:r>
              <a:rPr lang="fr-FR"/>
              <a:t>Troisième niveau en Arial gris 18</a:t>
            </a:r>
          </a:p>
        </p:txBody>
      </p:sp>
      <p:pic>
        <p:nvPicPr>
          <p:cNvPr id="13" name="Image 12" descr="Une image contenant texte&#10;&#10;Description générée automatiquement">
            <a:extLst>
              <a:ext uri="{FF2B5EF4-FFF2-40B4-BE49-F238E27FC236}">
                <a16:creationId xmlns:a16="http://schemas.microsoft.com/office/drawing/2014/main" id="{B214375F-AB1B-40C4-84AF-70CEABB54E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694F7883-DF1B-4C15-9C4E-4B976ACACCA8}"/>
              </a:ext>
            </a:extLst>
          </p:cNvPr>
          <p:cNvCxnSpPr/>
          <p:nvPr userDrawn="1"/>
        </p:nvCxnSpPr>
        <p:spPr>
          <a:xfrm flipH="1">
            <a:off x="107156" y="4918448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331508A-0132-453B-9424-0B72E9F78716}"/>
              </a:ext>
            </a:extLst>
          </p:cNvPr>
          <p:cNvSpPr/>
          <p:nvPr userDrawn="1"/>
        </p:nvSpPr>
        <p:spPr>
          <a:xfrm>
            <a:off x="20169" y="4918448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B2576938-1BA2-4654-A7A0-94E2C976BE02}"/>
              </a:ext>
            </a:extLst>
          </p:cNvPr>
          <p:cNvSpPr/>
          <p:nvPr userDrawn="1"/>
        </p:nvSpPr>
        <p:spPr>
          <a:xfrm>
            <a:off x="450056" y="4999246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E03C9AB-3D37-4621-A524-98B32A633C99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</p:spTree>
    <p:extLst>
      <p:ext uri="{BB962C8B-B14F-4D97-AF65-F5344CB8AC3E}">
        <p14:creationId xmlns:p14="http://schemas.microsoft.com/office/powerpoint/2010/main" val="12495513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carre-vierg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00" y="1371600"/>
            <a:ext cx="2603500" cy="2603500"/>
          </a:xfrm>
          <a:prstGeom prst="rect">
            <a:avLst/>
          </a:prstGeom>
        </p:spPr>
      </p:pic>
      <p:sp>
        <p:nvSpPr>
          <p:cNvPr id="8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5130800" y="1384300"/>
            <a:ext cx="2514600" cy="25019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2800">
                <a:solidFill>
                  <a:srgbClr val="FFFFFF"/>
                </a:solidFill>
              </a:defRPr>
            </a:lvl1pPr>
          </a:lstStyle>
          <a:p>
            <a:r>
              <a:rPr lang="fr-FR" sz="2800">
                <a:solidFill>
                  <a:schemeClr val="bg1"/>
                </a:solidFill>
                <a:latin typeface="+mj-lt"/>
              </a:rPr>
              <a:t>TITRE</a:t>
            </a:r>
            <a:br>
              <a:rPr lang="fr-FR" sz="280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EN ARIAL</a:t>
            </a:r>
            <a:r>
              <a:rPr lang="fr-FR" sz="2800">
                <a:solidFill>
                  <a:schemeClr val="bg1"/>
                </a:solidFill>
                <a:latin typeface="+mj-lt"/>
              </a:rPr>
              <a:t> </a:t>
            </a:r>
            <a:r>
              <a:rPr lang="fr-FR" sz="2800" baseline="0">
                <a:solidFill>
                  <a:schemeClr val="bg1"/>
                </a:solidFill>
                <a:latin typeface="+mj-lt"/>
              </a:rPr>
              <a:t>BLANC 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 baseline="0">
                <a:solidFill>
                  <a:schemeClr val="bg1"/>
                </a:solidFill>
                <a:latin typeface="+mj-lt"/>
              </a:rPr>
              <a:t>MAJ 28</a:t>
            </a:r>
            <a:br>
              <a:rPr lang="fr-FR" sz="2800" baseline="0">
                <a:solidFill>
                  <a:schemeClr val="bg1"/>
                </a:solidFill>
                <a:latin typeface="+mj-lt"/>
              </a:rPr>
            </a:br>
            <a:r>
              <a:rPr lang="fr-FR" sz="2800">
                <a:solidFill>
                  <a:schemeClr val="bg1"/>
                </a:solidFill>
                <a:latin typeface="+mj-lt"/>
              </a:rPr>
              <a:t>JUSTIFIÉ À DROITE</a:t>
            </a:r>
            <a:endParaRPr lang="fr-FR"/>
          </a:p>
        </p:txBody>
      </p:sp>
      <p:pic>
        <p:nvPicPr>
          <p:cNvPr id="12" name="Image 1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3BEE794-E676-4820-8A08-BBB29B376D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6336" y="4522583"/>
            <a:ext cx="1480068" cy="511695"/>
          </a:xfrm>
          <a:prstGeom prst="rect">
            <a:avLst/>
          </a:prstGeom>
        </p:spPr>
      </p:pic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1700E120-7912-DA21-3475-D463151D3F5E}"/>
              </a:ext>
            </a:extLst>
          </p:cNvPr>
          <p:cNvCxnSpPr/>
          <p:nvPr userDrawn="1"/>
        </p:nvCxnSpPr>
        <p:spPr>
          <a:xfrm flipH="1">
            <a:off x="93928" y="4919527"/>
            <a:ext cx="73009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8DF49D66-5FEF-0EF6-3BB7-72D67EA43FFA}"/>
              </a:ext>
            </a:extLst>
          </p:cNvPr>
          <p:cNvSpPr/>
          <p:nvPr userDrawn="1"/>
        </p:nvSpPr>
        <p:spPr>
          <a:xfrm>
            <a:off x="6941" y="4919527"/>
            <a:ext cx="772787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80B174E7-498C-1442-A57F-06CEDFBEB0EF}" type="slidenum">
              <a:rPr lang="fr-FR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pPr/>
              <a:t>‹N°›</a:t>
            </a:fld>
            <a:r>
              <a:rPr lang="fr-FR" sz="8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       </a:t>
            </a:r>
            <a:endParaRPr lang="fr-FR" sz="105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1488CB3B-6D7D-A257-F32E-E2299F00E3BA}"/>
              </a:ext>
            </a:extLst>
          </p:cNvPr>
          <p:cNvSpPr/>
          <p:nvPr userDrawn="1"/>
        </p:nvSpPr>
        <p:spPr>
          <a:xfrm>
            <a:off x="436828" y="5000325"/>
            <a:ext cx="45719" cy="45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13CCFD9-588D-9646-7A96-79605720DDE1}"/>
              </a:ext>
            </a:extLst>
          </p:cNvPr>
          <p:cNvSpPr txBox="1"/>
          <p:nvPr userDrawn="1"/>
        </p:nvSpPr>
        <p:spPr>
          <a:xfrm>
            <a:off x="450054" y="4922727"/>
            <a:ext cx="8086727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50">
                <a:solidFill>
                  <a:schemeClr val="tx1">
                    <a:lumMod val="75000"/>
                    <a:lumOff val="25000"/>
                  </a:schemeClr>
                </a:solidFill>
              </a:rPr>
              <a:t>Confidentiel – Ne pas diffuser</a:t>
            </a:r>
          </a:p>
        </p:txBody>
      </p:sp>
    </p:spTree>
    <p:extLst>
      <p:ext uri="{BB962C8B-B14F-4D97-AF65-F5344CB8AC3E}">
        <p14:creationId xmlns:p14="http://schemas.microsoft.com/office/powerpoint/2010/main" val="377859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0B6904-D095-454A-B1C4-AE6F2ACA4DB6}" type="datetime1">
              <a:rPr lang="fr-FR" smtClean="0"/>
              <a:t>10/04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241942-E58C-A342-9633-52FEBA5197C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0710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7" r:id="rId2"/>
    <p:sldLayoutId id="2147483676" r:id="rId3"/>
    <p:sldLayoutId id="2147483677" r:id="rId4"/>
    <p:sldLayoutId id="2147483654" r:id="rId5"/>
    <p:sldLayoutId id="2147483657" r:id="rId6"/>
    <p:sldLayoutId id="2147483655" r:id="rId7"/>
    <p:sldLayoutId id="2147483656" r:id="rId8"/>
    <p:sldLayoutId id="2147483650" r:id="rId9"/>
    <p:sldLayoutId id="2147483668" r:id="rId10"/>
    <p:sldLayoutId id="2147483682" r:id="rId11"/>
    <p:sldLayoutId id="2147483683" r:id="rId12"/>
    <p:sldLayoutId id="2147483679" r:id="rId13"/>
    <p:sldLayoutId id="2147483680" r:id="rId14"/>
    <p:sldLayoutId id="2147483678" r:id="rId15"/>
    <p:sldLayoutId id="2147483681" r:id="rId16"/>
    <p:sldLayoutId id="2147483684" r:id="rId17"/>
    <p:sldLayoutId id="2147483685" r:id="rId18"/>
    <p:sldLayoutId id="2147483687" r:id="rId19"/>
    <p:sldLayoutId id="2147483688" r:id="rId20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3041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3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4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png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image" Target="../media/image36.png"/><Relationship Id="rId5" Type="http://schemas.openxmlformats.org/officeDocument/2006/relationships/image" Target="../media/image32.png"/><Relationship Id="rId4" Type="http://schemas.openxmlformats.org/officeDocument/2006/relationships/image" Target="../media/image3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oleObject" Target="../embeddings/oleObject2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image" Target="../media/image41.jpeg"/><Relationship Id="rId5" Type="http://schemas.openxmlformats.org/officeDocument/2006/relationships/image" Target="../media/image32.png"/><Relationship Id="rId4" Type="http://schemas.openxmlformats.org/officeDocument/2006/relationships/image" Target="../media/image35.emf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3B4CB0E-975F-5768-E995-366137EA1F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7447" y="1695425"/>
            <a:ext cx="5555227" cy="1016689"/>
          </a:xfrm>
        </p:spPr>
        <p:txBody>
          <a:bodyPr/>
          <a:lstStyle/>
          <a:p>
            <a:r>
              <a:rPr lang="fr-FR" dirty="0"/>
              <a:t>Présentation générale </a:t>
            </a:r>
          </a:p>
          <a:p>
            <a:r>
              <a:rPr lang="fr-FR" dirty="0"/>
              <a:t>du site industri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824D35-26F5-B829-74E0-D4D23F45C8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7447" y="2727009"/>
            <a:ext cx="3857625" cy="207749"/>
          </a:xfrm>
        </p:spPr>
        <p:txBody>
          <a:bodyPr/>
          <a:lstStyle/>
          <a:p>
            <a:r>
              <a:rPr lang="fr-FR" dirty="0"/>
              <a:t>L’Isle Sur La Sorgue</a:t>
            </a:r>
          </a:p>
        </p:txBody>
      </p:sp>
    </p:spTree>
    <p:extLst>
      <p:ext uri="{BB962C8B-B14F-4D97-AF65-F5344CB8AC3E}">
        <p14:creationId xmlns:p14="http://schemas.microsoft.com/office/powerpoint/2010/main" val="61058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93242-B104-5A42-A40F-39E8EFD21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" y="104379"/>
            <a:ext cx="7223105" cy="568721"/>
          </a:xfrm>
        </p:spPr>
        <p:txBody>
          <a:bodyPr>
            <a:normAutofit/>
          </a:bodyPr>
          <a:lstStyle/>
          <a:p>
            <a:r>
              <a:rPr lang="fr-FR" sz="2100" kern="0">
                <a:latin typeface="Arial"/>
              </a:rPr>
              <a:t>Un environnement de travail sûr et respectueux de chacun</a:t>
            </a:r>
            <a:endParaRPr lang="en-GB" sz="21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23588F7-2870-4586-A699-5DDA9B025A03}"/>
              </a:ext>
            </a:extLst>
          </p:cNvPr>
          <p:cNvSpPr/>
          <p:nvPr/>
        </p:nvSpPr>
        <p:spPr>
          <a:xfrm>
            <a:off x="353745" y="1124712"/>
            <a:ext cx="1559638" cy="340156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fr-FR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fr-FR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fr-FR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fr-FR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r>
              <a:rPr lang="fr-FR" sz="1200" dirty="0">
                <a:solidFill>
                  <a:srgbClr val="0A4055"/>
                </a:solidFill>
                <a:latin typeface="Arial" panose="020B0604020202020204"/>
              </a:rPr>
              <a:t>Des produits de qualité</a:t>
            </a:r>
          </a:p>
          <a:p>
            <a:pPr algn="ctr" defTabSz="685800">
              <a:defRPr/>
            </a:pPr>
            <a:endParaRPr lang="fr-FR" sz="120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r>
              <a:rPr lang="fr-FR" sz="1200" dirty="0">
                <a:solidFill>
                  <a:srgbClr val="0A4055"/>
                </a:solidFill>
                <a:latin typeface="Arial" panose="020B0604020202020204"/>
              </a:rPr>
              <a:t>2 statuts:</a:t>
            </a:r>
          </a:p>
          <a:p>
            <a:pPr algn="ctr" defTabSz="685800">
              <a:defRPr/>
            </a:pPr>
            <a:r>
              <a:rPr lang="fr-FR" sz="1200" dirty="0">
                <a:solidFill>
                  <a:srgbClr val="0A4055"/>
                </a:solidFill>
                <a:latin typeface="Arial" panose="020B0604020202020204"/>
              </a:rPr>
              <a:t>Médicament/</a:t>
            </a:r>
          </a:p>
          <a:p>
            <a:pPr algn="ctr" defTabSz="685800">
              <a:defRPr/>
            </a:pPr>
            <a:r>
              <a:rPr lang="fr-FR" sz="1200" dirty="0">
                <a:solidFill>
                  <a:srgbClr val="0A4055"/>
                </a:solidFill>
                <a:latin typeface="Arial" panose="020B0604020202020204"/>
              </a:rPr>
              <a:t>dispositifs médicaux</a:t>
            </a:r>
            <a:endParaRPr lang="fr-FR" sz="1350" dirty="0">
              <a:solidFill>
                <a:srgbClr val="0A4055"/>
              </a:solidFill>
              <a:latin typeface="Arial" panose="020B0604020202020204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AD3EBF-9885-403F-9024-32151FEFEC85}"/>
              </a:ext>
            </a:extLst>
          </p:cNvPr>
          <p:cNvSpPr/>
          <p:nvPr/>
        </p:nvSpPr>
        <p:spPr>
          <a:xfrm>
            <a:off x="2027682" y="1124712"/>
            <a:ext cx="1559638" cy="340156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0A4055"/>
              </a:solidFill>
              <a:latin typeface="Arial" panose="020B0604020202020204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E3F6AB1-8225-4573-BFCB-9DA805C0EDED}"/>
              </a:ext>
            </a:extLst>
          </p:cNvPr>
          <p:cNvSpPr/>
          <p:nvPr/>
        </p:nvSpPr>
        <p:spPr>
          <a:xfrm>
            <a:off x="3701620" y="1124712"/>
            <a:ext cx="1559638" cy="34015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r>
              <a:rPr lang="en-US" sz="1350" dirty="0">
                <a:solidFill>
                  <a:srgbClr val="0A4055"/>
                </a:solidFill>
                <a:latin typeface="Arial" panose="020B0604020202020204"/>
              </a:rPr>
              <a:t>Village monde ISS</a:t>
            </a:r>
          </a:p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  <a:p>
            <a:pPr algn="ctr" defTabSz="685800">
              <a:defRPr/>
            </a:pPr>
            <a:r>
              <a:rPr lang="en-US" sz="1350" dirty="0">
                <a:solidFill>
                  <a:srgbClr val="0A4055"/>
                </a:solidFill>
                <a:latin typeface="Arial" panose="020B0604020202020204"/>
              </a:rPr>
              <a:t>Groupe </a:t>
            </a:r>
            <a:r>
              <a:rPr lang="fr-FR" sz="1350" dirty="0">
                <a:solidFill>
                  <a:srgbClr val="0A4055"/>
                </a:solidFill>
                <a:latin typeface="Arial" panose="020B0604020202020204"/>
              </a:rPr>
              <a:t>industrie Luberon Sorgues Entreprendre</a:t>
            </a:r>
          </a:p>
          <a:p>
            <a:pPr algn="ctr" defTabSz="685800">
              <a:defRPr/>
            </a:pPr>
            <a:endParaRPr lang="en-US" sz="1350" dirty="0">
              <a:solidFill>
                <a:srgbClr val="0A4055"/>
              </a:solidFill>
              <a:latin typeface="Arial" panose="020B0604020202020204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313A53-D183-4463-A449-AFE457EF3BFA}"/>
              </a:ext>
            </a:extLst>
          </p:cNvPr>
          <p:cNvSpPr/>
          <p:nvPr/>
        </p:nvSpPr>
        <p:spPr>
          <a:xfrm>
            <a:off x="5375558" y="1124712"/>
            <a:ext cx="1559638" cy="340156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0A4055"/>
              </a:solidFill>
              <a:latin typeface="Arial" panose="020B0604020202020204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F88321-A157-4B98-92F2-7CDB3CF9A39D}"/>
              </a:ext>
            </a:extLst>
          </p:cNvPr>
          <p:cNvSpPr/>
          <p:nvPr/>
        </p:nvSpPr>
        <p:spPr>
          <a:xfrm>
            <a:off x="7049496" y="1124712"/>
            <a:ext cx="1559638" cy="340156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srgbClr val="0A4055"/>
              </a:solidFill>
              <a:latin typeface="Arial" panose="020B0604020202020204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E004A1F-0296-4938-B0D2-3951BDBDC7C7}"/>
              </a:ext>
            </a:extLst>
          </p:cNvPr>
          <p:cNvSpPr txBox="1"/>
          <p:nvPr/>
        </p:nvSpPr>
        <p:spPr>
          <a:xfrm>
            <a:off x="353745" y="1124712"/>
            <a:ext cx="15596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fr-FR" sz="1050" b="1">
                <a:solidFill>
                  <a:srgbClr val="0A4055"/>
                </a:solidFill>
                <a:latin typeface="Arial" panose="020B0604020202020204"/>
              </a:rPr>
              <a:t>PATIENTS</a:t>
            </a:r>
            <a:endParaRPr lang="en-US" sz="1050" b="1">
              <a:solidFill>
                <a:srgbClr val="0A4055"/>
              </a:solidFill>
              <a:latin typeface="Arial" panose="020B0604020202020204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71AB9936-EF2A-41E6-8F15-AD7CE0E0AAAC}"/>
              </a:ext>
            </a:extLst>
          </p:cNvPr>
          <p:cNvSpPr txBox="1"/>
          <p:nvPr/>
        </p:nvSpPr>
        <p:spPr>
          <a:xfrm>
            <a:off x="2027682" y="1124712"/>
            <a:ext cx="15596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fr-FR" sz="1050" b="1">
                <a:solidFill>
                  <a:srgbClr val="2797D3"/>
                </a:solidFill>
                <a:latin typeface="Arial" panose="020B0604020202020204"/>
              </a:rPr>
              <a:t>SOCIETY</a:t>
            </a:r>
            <a:endParaRPr lang="en-US" sz="1050" b="1">
              <a:solidFill>
                <a:srgbClr val="2797D3"/>
              </a:solidFill>
              <a:latin typeface="Arial" panose="020B0604020202020204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ABB6FDCC-EE20-467D-8CC8-0763D7FB7E3B}"/>
              </a:ext>
            </a:extLst>
          </p:cNvPr>
          <p:cNvSpPr txBox="1"/>
          <p:nvPr/>
        </p:nvSpPr>
        <p:spPr>
          <a:xfrm>
            <a:off x="3694614" y="1139384"/>
            <a:ext cx="15596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fr-FR" sz="1050" b="1">
                <a:solidFill>
                  <a:srgbClr val="4C2F3B"/>
                </a:solidFill>
                <a:latin typeface="Arial" panose="020B0604020202020204"/>
              </a:rPr>
              <a:t>COMMUNITY</a:t>
            </a:r>
            <a:endParaRPr lang="en-US" sz="1050" b="1">
              <a:solidFill>
                <a:srgbClr val="4C2F3B"/>
              </a:solidFill>
              <a:latin typeface="Arial" panose="020B0604020202020204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0BAB036-3CCE-45EF-8770-CB38CCEDAEA7}"/>
              </a:ext>
            </a:extLst>
          </p:cNvPr>
          <p:cNvSpPr txBox="1"/>
          <p:nvPr/>
        </p:nvSpPr>
        <p:spPr>
          <a:xfrm>
            <a:off x="5375558" y="1138349"/>
            <a:ext cx="15596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fr-FR" sz="1050" b="1">
                <a:solidFill>
                  <a:srgbClr val="864159"/>
                </a:solidFill>
                <a:latin typeface="Arial" panose="020B0604020202020204"/>
              </a:rPr>
              <a:t>COLLABORATORS</a:t>
            </a:r>
            <a:endParaRPr lang="en-US" sz="1050" b="1">
              <a:solidFill>
                <a:srgbClr val="864159"/>
              </a:solidFill>
              <a:latin typeface="Arial" panose="020B0604020202020204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BB67F56-5980-4E03-B068-B2B78EAE0ED5}"/>
              </a:ext>
            </a:extLst>
          </p:cNvPr>
          <p:cNvSpPr txBox="1"/>
          <p:nvPr/>
        </p:nvSpPr>
        <p:spPr>
          <a:xfrm>
            <a:off x="7116318" y="1138349"/>
            <a:ext cx="15596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fr-FR" sz="1050" b="1">
                <a:solidFill>
                  <a:srgbClr val="BFBFBF">
                    <a:lumMod val="75000"/>
                  </a:srgbClr>
                </a:solidFill>
                <a:latin typeface="Arial" panose="020B0604020202020204"/>
              </a:rPr>
              <a:t>PLANET</a:t>
            </a:r>
            <a:endParaRPr lang="en-US" sz="1050" b="1">
              <a:solidFill>
                <a:srgbClr val="BFBFBF">
                  <a:lumMod val="75000"/>
                </a:srgbClr>
              </a:solidFill>
              <a:latin typeface="Arial" panose="020B0604020202020204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741D83F-29DA-4D23-AE17-040F39D338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2368" y="1528221"/>
            <a:ext cx="844160" cy="85280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5E297025-A0E4-48E6-B245-766682BFA1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7063" y="1598785"/>
            <a:ext cx="984501" cy="890739"/>
          </a:xfrm>
          <a:prstGeom prst="rect">
            <a:avLst/>
          </a:prstGeom>
        </p:spPr>
      </p:pic>
      <p:pic>
        <p:nvPicPr>
          <p:cNvPr id="1026" name="Picture 2" descr="Programme Refuges LPO - LPO Auvergne-Rhône-Alpes – Délégation Drôme">
            <a:extLst>
              <a:ext uri="{FF2B5EF4-FFF2-40B4-BE49-F238E27FC236}">
                <a16:creationId xmlns:a16="http://schemas.microsoft.com/office/drawing/2014/main" id="{98F3E2D0-4964-44AF-9207-F3E4A8F64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6318" y="3274178"/>
            <a:ext cx="1346736" cy="541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PF - GMP : les bonnes pratiques de fabrication dans l&amp;#39;industrie  pharmaceutique - Challenge Optimum S.A.">
            <a:extLst>
              <a:ext uri="{FF2B5EF4-FFF2-40B4-BE49-F238E27FC236}">
                <a16:creationId xmlns:a16="http://schemas.microsoft.com/office/drawing/2014/main" id="{1C65DC8B-998B-45E3-9741-E9A608EDB5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363" y="1614953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ROMAN reçoit le prix l&amp;#39;engagement sociétal des Trophées RSE PACA 2019">
            <a:extLst>
              <a:ext uri="{FF2B5EF4-FFF2-40B4-BE49-F238E27FC236}">
                <a16:creationId xmlns:a16="http://schemas.microsoft.com/office/drawing/2014/main" id="{2924DEE2-153F-44F7-9CE0-FE673ECB1F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05" t="12500" r="26377" b="7821"/>
          <a:stretch/>
        </p:blipFill>
        <p:spPr bwMode="auto">
          <a:xfrm>
            <a:off x="4067918" y="1625229"/>
            <a:ext cx="918972" cy="904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PROMAN reçoit le prix l&amp;#39;engagement sociétal des Trophées RSE PACA 2019">
            <a:extLst>
              <a:ext uri="{FF2B5EF4-FFF2-40B4-BE49-F238E27FC236}">
                <a16:creationId xmlns:a16="http://schemas.microsoft.com/office/drawing/2014/main" id="{28D7AFF4-E650-44F3-9C83-AB5E4FB850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05" t="12500" r="26377" b="7821"/>
          <a:stretch/>
        </p:blipFill>
        <p:spPr bwMode="auto">
          <a:xfrm>
            <a:off x="2352647" y="1671065"/>
            <a:ext cx="918972" cy="904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61718BEC-4DEE-4FD3-8FD2-19D2FB2C5390}"/>
              </a:ext>
            </a:extLst>
          </p:cNvPr>
          <p:cNvGrpSpPr/>
          <p:nvPr/>
        </p:nvGrpSpPr>
        <p:grpSpPr>
          <a:xfrm>
            <a:off x="8609134" y="0"/>
            <a:ext cx="875589" cy="876816"/>
            <a:chOff x="9104677" y="1861872"/>
            <a:chExt cx="1167452" cy="1169088"/>
          </a:xfrm>
        </p:grpSpPr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EFAEA6F7-53FD-4085-9BCD-882A97511A10}"/>
                </a:ext>
              </a:extLst>
            </p:cNvPr>
            <p:cNvGrpSpPr/>
            <p:nvPr/>
          </p:nvGrpSpPr>
          <p:grpSpPr>
            <a:xfrm>
              <a:off x="9104677" y="1861872"/>
              <a:ext cx="1167452" cy="1167452"/>
              <a:chOff x="11470387" y="104108"/>
              <a:chExt cx="1167452" cy="1167452"/>
            </a:xfrm>
          </p:grpSpPr>
          <p:sp>
            <p:nvSpPr>
              <p:cNvPr id="25" name="Corde 24">
                <a:extLst>
                  <a:ext uri="{FF2B5EF4-FFF2-40B4-BE49-F238E27FC236}">
                    <a16:creationId xmlns:a16="http://schemas.microsoft.com/office/drawing/2014/main" id="{7163A9A2-BAAE-4E2E-9758-C790FEA99F72}"/>
                  </a:ext>
                </a:extLst>
              </p:cNvPr>
              <p:cNvSpPr/>
              <p:nvPr/>
            </p:nvSpPr>
            <p:spPr>
              <a:xfrm rot="1897068">
                <a:off x="11470387" y="104108"/>
                <a:ext cx="1167452" cy="1167452"/>
              </a:xfrm>
              <a:prstGeom prst="chord">
                <a:avLst>
                  <a:gd name="adj1" fmla="val 2700000"/>
                  <a:gd name="adj2" fmla="val 1511377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fr-FR" sz="135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0DC7B01D-DCFD-4F3E-9C17-519F28EABEF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r="10866" b="12151"/>
              <a:stretch/>
            </p:blipFill>
            <p:spPr>
              <a:xfrm>
                <a:off x="11532192" y="240998"/>
                <a:ext cx="677752" cy="667981"/>
              </a:xfrm>
              <a:prstGeom prst="rect">
                <a:avLst/>
              </a:prstGeom>
            </p:spPr>
          </p:pic>
        </p:grp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05AF9D25-59A5-4B33-8ABE-D027BA7CDA0E}"/>
                </a:ext>
              </a:extLst>
            </p:cNvPr>
            <p:cNvSpPr txBox="1"/>
            <p:nvPr/>
          </p:nvSpPr>
          <p:spPr>
            <a:xfrm>
              <a:off x="9245908" y="2600073"/>
              <a:ext cx="623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ts val="570"/>
                </a:lnSpc>
                <a:defRPr/>
              </a:pPr>
              <a:r>
                <a:rPr lang="fr-FR" sz="600">
                  <a:solidFill>
                    <a:srgbClr val="0A4055"/>
                  </a:solidFill>
                  <a:latin typeface="Arial" panose="020B0604020202020204"/>
                </a:rPr>
                <a:t>L’Isle-sur-la-Sorgue</a:t>
              </a:r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1FB9D7A0-699C-4E7B-998B-16E5F490214E}"/>
                </a:ext>
              </a:extLst>
            </p:cNvPr>
            <p:cNvSpPr/>
            <p:nvPr/>
          </p:nvSpPr>
          <p:spPr>
            <a:xfrm>
              <a:off x="9659045" y="2481488"/>
              <a:ext cx="58723" cy="587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sz="135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2A595AAD-AC54-44A9-B6E7-90C5E2A32B29}"/>
              </a:ext>
            </a:extLst>
          </p:cNvPr>
          <p:cNvSpPr txBox="1"/>
          <p:nvPr/>
        </p:nvSpPr>
        <p:spPr>
          <a:xfrm>
            <a:off x="8240714" y="480543"/>
            <a:ext cx="1043861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000">
                <a:solidFill>
                  <a:schemeClr val="bg1"/>
                </a:solidFill>
                <a:cs typeface="Arial"/>
              </a:rPr>
              <a:t>BG</a:t>
            </a:r>
            <a:endParaRPr lang="fr-FR" sz="10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3927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3844C35A-6980-4D8A-911F-EFD4269B12A5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394" y="1657829"/>
            <a:ext cx="297818" cy="318888"/>
          </a:xfrm>
          <a:prstGeom prst="ellipse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974505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66C90AC-6F36-4203-64F9-7625C5A224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6654" y="1839626"/>
            <a:ext cx="3794281" cy="914096"/>
          </a:xfrm>
        </p:spPr>
        <p:txBody>
          <a:bodyPr/>
          <a:lstStyle/>
          <a:p>
            <a:pPr algn="ctr"/>
            <a:r>
              <a:rPr lang="en-US" dirty="0"/>
              <a:t>BIENVENUE SUR </a:t>
            </a:r>
            <a:br>
              <a:rPr lang="en-US" dirty="0"/>
            </a:br>
            <a:r>
              <a:rPr lang="en-US" dirty="0"/>
              <a:t>NOTRE SIT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00ECD5CD-C33F-B007-4EDC-5B920574C7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Image 4" descr="Une image contenant extérieur, ciel, arbre, pierre&#10;&#10;Description générée automatiquement">
            <a:extLst>
              <a:ext uri="{FF2B5EF4-FFF2-40B4-BE49-F238E27FC236}">
                <a16:creationId xmlns:a16="http://schemas.microsoft.com/office/drawing/2014/main" id="{CF4FF1B7-ECB2-0849-8C6A-4ACA3FFF9D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38136" y="764405"/>
            <a:ext cx="5418060" cy="361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83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16EFFC17-54FF-4940-A135-E87B705DB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5400" y="1358900"/>
            <a:ext cx="3088804" cy="2501900"/>
          </a:xfrm>
        </p:spPr>
        <p:txBody>
          <a:bodyPr/>
          <a:lstStyle/>
          <a:p>
            <a:r>
              <a:rPr lang="fr-FR" b="1"/>
              <a:t>PRéSENTATION générale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848146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ABDF55DA-4739-465E-A4B0-E71F7D394F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2204" b="1625"/>
          <a:stretch/>
        </p:blipFill>
        <p:spPr>
          <a:xfrm>
            <a:off x="3493429" y="1897658"/>
            <a:ext cx="4570990" cy="25780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A6CD92D-0564-4FA4-97BE-B293E3F5A1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Une argile c’est quoi ?</a:t>
            </a:r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24ECA95-5FD5-413F-A696-9DB162D7A7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7484" y="936344"/>
            <a:ext cx="8567573" cy="32316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just">
              <a:buNone/>
            </a:pPr>
            <a:r>
              <a:rPr lang="fr-FR" sz="1600" b="1" dirty="0">
                <a:solidFill>
                  <a:schemeClr val="tx2"/>
                </a:solidFill>
                <a:latin typeface="+mj-lt"/>
              </a:rPr>
              <a:t>L’argile est une substance minérale naturelle</a:t>
            </a:r>
          </a:p>
          <a:p>
            <a:pPr marL="0" indent="0" algn="just">
              <a:buNone/>
            </a:pPr>
            <a:endParaRPr lang="en-GB" sz="1000" dirty="0">
              <a:solidFill>
                <a:schemeClr val="tx2"/>
              </a:solidFill>
              <a:latin typeface="+mj-lt"/>
            </a:endParaRPr>
          </a:p>
          <a:p>
            <a:pPr marL="0" indent="0" algn="just">
              <a:buNone/>
            </a:pPr>
            <a:r>
              <a:rPr lang="en-GB" sz="1100" dirty="0">
                <a:solidFill>
                  <a:schemeClr val="tx2"/>
                </a:solidFill>
                <a:latin typeface="+mj-lt"/>
              </a:rPr>
              <a:t>Les </a:t>
            </a:r>
            <a:r>
              <a:rPr lang="fr-FR" sz="1100" dirty="0">
                <a:solidFill>
                  <a:schemeClr val="tx2"/>
                </a:solidFill>
                <a:latin typeface="+mj-lt"/>
              </a:rPr>
              <a:t>particules argileuses se forment dans les couches superficielles de la Terre</a:t>
            </a:r>
          </a:p>
          <a:p>
            <a:pPr algn="just"/>
            <a:r>
              <a:rPr lang="fr-FR" sz="1100" dirty="0">
                <a:solidFill>
                  <a:schemeClr val="tx2"/>
                </a:solidFill>
                <a:latin typeface="+mj-lt"/>
              </a:rPr>
              <a:t>phénomènes géologiques (érosion, hydrolyse). Elles proviennent généralement de gisement à ciel ouvert</a:t>
            </a:r>
          </a:p>
          <a:p>
            <a:pPr marL="0" indent="0" algn="just">
              <a:buNone/>
            </a:pPr>
            <a:endParaRPr lang="en-US" sz="11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D51C65F-1C5D-43FA-922C-33E860DF30DC}"/>
              </a:ext>
            </a:extLst>
          </p:cNvPr>
          <p:cNvSpPr txBox="1">
            <a:spLocks/>
          </p:cNvSpPr>
          <p:nvPr/>
        </p:nvSpPr>
        <p:spPr>
          <a:xfrm>
            <a:off x="100289" y="2021544"/>
            <a:ext cx="3465774" cy="82195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GB" sz="16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altLang="en-US" sz="1100">
                <a:solidFill>
                  <a:schemeClr val="tx2"/>
                </a:solidFill>
                <a:latin typeface="+mj-lt"/>
                <a:cs typeface="Arial"/>
              </a:rPr>
              <a:t>Les argiles sont classées selon :</a:t>
            </a:r>
          </a:p>
          <a:p>
            <a:pPr lv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altLang="en-US" sz="1100">
              <a:solidFill>
                <a:schemeClr val="tx2"/>
              </a:solidFill>
              <a:latin typeface="+mj-lt"/>
              <a:cs typeface="Arial"/>
            </a:endParaRPr>
          </a:p>
          <a:p>
            <a:pPr marL="742950" lvl="1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fr-FR" altLang="en-US" sz="1100">
                <a:solidFill>
                  <a:schemeClr val="tx2"/>
                </a:solidFill>
                <a:latin typeface="+mj-lt"/>
                <a:cs typeface="Arial"/>
              </a:rPr>
              <a:t>leur composition </a:t>
            </a:r>
          </a:p>
          <a:p>
            <a:pPr marL="742950" lvl="1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fr-FR" altLang="en-US" sz="1100">
                <a:solidFill>
                  <a:schemeClr val="tx2"/>
                </a:solidFill>
                <a:latin typeface="+mj-lt"/>
                <a:cs typeface="Arial"/>
              </a:rPr>
              <a:t>leur structure</a:t>
            </a:r>
          </a:p>
          <a:p>
            <a:pPr marL="742950" lvl="1" indent="-2857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fr-FR" altLang="en-US" sz="1100">
                <a:solidFill>
                  <a:schemeClr val="tx2"/>
                </a:solidFill>
                <a:latin typeface="+mj-lt"/>
                <a:cs typeface="Arial"/>
              </a:rPr>
              <a:t>leur charge électriqu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AAB77B13-2923-4F49-A239-3E914DBF1ED4}"/>
              </a:ext>
            </a:extLst>
          </p:cNvPr>
          <p:cNvGrpSpPr/>
          <p:nvPr/>
        </p:nvGrpSpPr>
        <p:grpSpPr>
          <a:xfrm>
            <a:off x="8609134" y="0"/>
            <a:ext cx="875589" cy="876816"/>
            <a:chOff x="9104677" y="1861872"/>
            <a:chExt cx="1167452" cy="1169088"/>
          </a:xfrm>
        </p:grpSpPr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94AC9BAF-6FFF-4682-9A3F-CC3B81796583}"/>
                </a:ext>
              </a:extLst>
            </p:cNvPr>
            <p:cNvGrpSpPr/>
            <p:nvPr/>
          </p:nvGrpSpPr>
          <p:grpSpPr>
            <a:xfrm>
              <a:off x="9104677" y="1861872"/>
              <a:ext cx="1167452" cy="1167452"/>
              <a:chOff x="11470387" y="104108"/>
              <a:chExt cx="1167452" cy="1167452"/>
            </a:xfrm>
          </p:grpSpPr>
          <p:sp>
            <p:nvSpPr>
              <p:cNvPr id="16" name="Corde 15">
                <a:extLst>
                  <a:ext uri="{FF2B5EF4-FFF2-40B4-BE49-F238E27FC236}">
                    <a16:creationId xmlns:a16="http://schemas.microsoft.com/office/drawing/2014/main" id="{9B1EC197-9018-482C-B837-CC357CA991C2}"/>
                  </a:ext>
                </a:extLst>
              </p:cNvPr>
              <p:cNvSpPr/>
              <p:nvPr/>
            </p:nvSpPr>
            <p:spPr>
              <a:xfrm rot="1897068">
                <a:off x="11470387" y="104108"/>
                <a:ext cx="1167452" cy="1167452"/>
              </a:xfrm>
              <a:prstGeom prst="chord">
                <a:avLst>
                  <a:gd name="adj1" fmla="val 2700000"/>
                  <a:gd name="adj2" fmla="val 1511377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fr-FR" sz="135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98304205-FE39-415A-81FD-E07A7E41ED1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r="10866" b="12151"/>
              <a:stretch/>
            </p:blipFill>
            <p:spPr>
              <a:xfrm>
                <a:off x="11532192" y="240998"/>
                <a:ext cx="677752" cy="667981"/>
              </a:xfrm>
              <a:prstGeom prst="rect">
                <a:avLst/>
              </a:prstGeom>
            </p:spPr>
          </p:pic>
        </p:grp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46B718C4-45C7-44D9-803A-751A3EF145BE}"/>
                </a:ext>
              </a:extLst>
            </p:cNvPr>
            <p:cNvSpPr txBox="1"/>
            <p:nvPr/>
          </p:nvSpPr>
          <p:spPr>
            <a:xfrm>
              <a:off x="9245908" y="2600073"/>
              <a:ext cx="623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ts val="570"/>
                </a:lnSpc>
                <a:defRPr/>
              </a:pPr>
              <a:r>
                <a:rPr lang="fr-FR" sz="600">
                  <a:solidFill>
                    <a:srgbClr val="0A4055"/>
                  </a:solidFill>
                  <a:latin typeface="Arial" panose="020B0604020202020204"/>
                </a:rPr>
                <a:t>L’Isle-sur-la-Sorgue</a:t>
              </a: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CF11C6CF-0981-4B5E-B05A-CA64D1A494B6}"/>
                </a:ext>
              </a:extLst>
            </p:cNvPr>
            <p:cNvSpPr/>
            <p:nvPr/>
          </p:nvSpPr>
          <p:spPr>
            <a:xfrm>
              <a:off x="9659045" y="2481488"/>
              <a:ext cx="58723" cy="587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sz="135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F94AE2A7-0190-5FBA-7303-118F44C616CA}"/>
              </a:ext>
            </a:extLst>
          </p:cNvPr>
          <p:cNvSpPr txBox="1"/>
          <p:nvPr/>
        </p:nvSpPr>
        <p:spPr>
          <a:xfrm>
            <a:off x="144625" y="3031283"/>
            <a:ext cx="3168909" cy="141577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100" u="sng" dirty="0">
                <a:solidFill>
                  <a:schemeClr val="tx2"/>
                </a:solidFill>
                <a:latin typeface="+mj-lt"/>
                <a:cs typeface="Arial"/>
              </a:rPr>
              <a:t>COMPOSITION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1100" u="sng" dirty="0">
              <a:solidFill>
                <a:schemeClr val="tx2"/>
              </a:solidFill>
              <a:latin typeface="+mj-lt"/>
              <a:cs typeface="Arial"/>
            </a:endParaRPr>
          </a:p>
          <a:p>
            <a:pPr marL="628650" lvl="1" indent="-171450" algn="just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/>
              <a:buChar char="ü"/>
            </a:pPr>
            <a:r>
              <a:rPr lang="fr-FR" sz="1100" dirty="0">
                <a:solidFill>
                  <a:schemeClr val="tx2"/>
                </a:solidFill>
                <a:latin typeface="+mj-lt"/>
                <a:cs typeface="Arial"/>
              </a:rPr>
              <a:t>45 à 55 % argile pure</a:t>
            </a:r>
          </a:p>
          <a:p>
            <a:pPr marL="628650" lvl="1" indent="-171450" algn="just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/>
              <a:buChar char="ü"/>
            </a:pPr>
            <a:r>
              <a:rPr lang="fr-FR" sz="1100" dirty="0">
                <a:solidFill>
                  <a:schemeClr val="tx2"/>
                </a:solidFill>
                <a:latin typeface="+mj-lt"/>
                <a:cs typeface="Arial"/>
              </a:rPr>
              <a:t>30 à 35 % eau</a:t>
            </a:r>
          </a:p>
          <a:p>
            <a:pPr marL="685800" indent="-228600" algn="just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/>
              <a:buChar char="ü"/>
            </a:pPr>
            <a:r>
              <a:rPr lang="fr-FR" sz="1100" dirty="0">
                <a:solidFill>
                  <a:schemeClr val="tx2"/>
                </a:solidFill>
                <a:latin typeface="+mj-lt"/>
                <a:cs typeface="Arial"/>
              </a:rPr>
              <a:t>5 à 20 % Grit, Sels, carbonates..</a:t>
            </a:r>
          </a:p>
          <a:p>
            <a:pPr marL="685800" indent="-228600" algn="just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/>
              <a:buChar char="ü"/>
            </a:pPr>
            <a:r>
              <a:rPr lang="fr-FR" sz="800" dirty="0">
                <a:solidFill>
                  <a:schemeClr val="tx2"/>
                </a:solidFill>
                <a:latin typeface="+mj-lt"/>
                <a:cs typeface="Arial"/>
              </a:rPr>
              <a:t>(Feldspath, mica, sable, quartz, Sels, carbonates, impuretés élémentaires)</a:t>
            </a:r>
            <a:endParaRPr lang="fr-FR" dirty="0">
              <a:solidFill>
                <a:schemeClr val="tx2"/>
              </a:solidFill>
              <a:cs typeface="Arial"/>
            </a:endParaRPr>
          </a:p>
          <a:p>
            <a:pPr defTabSz="914400">
              <a:spcBef>
                <a:spcPct val="0"/>
              </a:spcBef>
              <a:spcAft>
                <a:spcPct val="0"/>
              </a:spcAft>
            </a:pPr>
            <a:endParaRPr lang="fr-FR" sz="1200" dirty="0">
              <a:solidFill>
                <a:schemeClr val="accent1"/>
              </a:solidFill>
              <a:latin typeface="+mj-lt"/>
              <a:cs typeface="Arial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EACC99D8-491B-E0FC-5708-4C5266C45FAF}"/>
              </a:ext>
            </a:extLst>
          </p:cNvPr>
          <p:cNvSpPr txBox="1"/>
          <p:nvPr/>
        </p:nvSpPr>
        <p:spPr>
          <a:xfrm>
            <a:off x="8254839" y="525440"/>
            <a:ext cx="1043861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000">
                <a:solidFill>
                  <a:schemeClr val="bg1"/>
                </a:solidFill>
                <a:cs typeface="Arial"/>
              </a:rPr>
              <a:t>LDS</a:t>
            </a:r>
            <a:endParaRPr lang="fr-FR" sz="10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2513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C673FD11-644E-44B6-823D-E1386A5FF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400"/>
              <a:t>Des carrières uniques et des critères très sélectifs </a:t>
            </a:r>
            <a:endParaRPr lang="en-US" sz="240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3F861A09-507F-47E2-9D71-442937138C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4F20F7E-6584-4E75-9150-79A6248E3E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887" y="859928"/>
            <a:ext cx="6948681" cy="3921146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A0728F7E-2B68-43ED-B73B-FB2F55C977C8}"/>
              </a:ext>
            </a:extLst>
          </p:cNvPr>
          <p:cNvGrpSpPr/>
          <p:nvPr/>
        </p:nvGrpSpPr>
        <p:grpSpPr>
          <a:xfrm>
            <a:off x="8609134" y="0"/>
            <a:ext cx="875589" cy="876816"/>
            <a:chOff x="9104677" y="1861872"/>
            <a:chExt cx="1167452" cy="1169088"/>
          </a:xfrm>
        </p:grpSpPr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7DB8C47D-5865-41C5-A1E4-A8FEEDA561E0}"/>
                </a:ext>
              </a:extLst>
            </p:cNvPr>
            <p:cNvGrpSpPr/>
            <p:nvPr/>
          </p:nvGrpSpPr>
          <p:grpSpPr>
            <a:xfrm>
              <a:off x="9104677" y="1861872"/>
              <a:ext cx="1167452" cy="1167452"/>
              <a:chOff x="11470387" y="104108"/>
              <a:chExt cx="1167452" cy="1167452"/>
            </a:xfrm>
          </p:grpSpPr>
          <p:sp>
            <p:nvSpPr>
              <p:cNvPr id="18" name="Corde 17">
                <a:extLst>
                  <a:ext uri="{FF2B5EF4-FFF2-40B4-BE49-F238E27FC236}">
                    <a16:creationId xmlns:a16="http://schemas.microsoft.com/office/drawing/2014/main" id="{6BA49BA7-9721-4A3E-BC2D-FF6FF3EF0122}"/>
                  </a:ext>
                </a:extLst>
              </p:cNvPr>
              <p:cNvSpPr/>
              <p:nvPr/>
            </p:nvSpPr>
            <p:spPr>
              <a:xfrm rot="1897068">
                <a:off x="11470387" y="104108"/>
                <a:ext cx="1167452" cy="1167452"/>
              </a:xfrm>
              <a:prstGeom prst="chord">
                <a:avLst>
                  <a:gd name="adj1" fmla="val 2700000"/>
                  <a:gd name="adj2" fmla="val 1511377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fr-FR" sz="135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19" name="Image 18">
                <a:extLst>
                  <a:ext uri="{FF2B5EF4-FFF2-40B4-BE49-F238E27FC236}">
                    <a16:creationId xmlns:a16="http://schemas.microsoft.com/office/drawing/2014/main" id="{5EFA7EDB-E41D-4F8E-A4AC-11CAB480C6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r="10866" b="12151"/>
              <a:stretch/>
            </p:blipFill>
            <p:spPr>
              <a:xfrm>
                <a:off x="11532192" y="240998"/>
                <a:ext cx="677752" cy="667981"/>
              </a:xfrm>
              <a:prstGeom prst="rect">
                <a:avLst/>
              </a:prstGeom>
            </p:spPr>
          </p:pic>
        </p:grp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0FE66A4D-7B8C-4C1B-8CC0-50CA6AF18A8F}"/>
                </a:ext>
              </a:extLst>
            </p:cNvPr>
            <p:cNvSpPr txBox="1"/>
            <p:nvPr/>
          </p:nvSpPr>
          <p:spPr>
            <a:xfrm>
              <a:off x="9245908" y="2600073"/>
              <a:ext cx="623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ts val="570"/>
                </a:lnSpc>
                <a:defRPr/>
              </a:pPr>
              <a:r>
                <a:rPr lang="fr-FR" sz="600">
                  <a:solidFill>
                    <a:srgbClr val="0A4055"/>
                  </a:solidFill>
                  <a:latin typeface="Arial" panose="020B0604020202020204"/>
                </a:rPr>
                <a:t>L’Isle-sur-la-Sorgue</a:t>
              </a: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61C1C2CD-372D-4A37-89E3-90CEAFD55153}"/>
                </a:ext>
              </a:extLst>
            </p:cNvPr>
            <p:cNvSpPr/>
            <p:nvPr/>
          </p:nvSpPr>
          <p:spPr>
            <a:xfrm>
              <a:off x="9659045" y="2481488"/>
              <a:ext cx="58723" cy="587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sz="135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43BC73C0-F6BF-A7D1-AC1C-4FA74BA44388}"/>
              </a:ext>
            </a:extLst>
          </p:cNvPr>
          <p:cNvSpPr txBox="1"/>
          <p:nvPr/>
        </p:nvSpPr>
        <p:spPr>
          <a:xfrm>
            <a:off x="8240714" y="480543"/>
            <a:ext cx="1043861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000">
                <a:solidFill>
                  <a:schemeClr val="bg1"/>
                </a:solidFill>
                <a:cs typeface="Arial"/>
              </a:rPr>
              <a:t>LDS</a:t>
            </a:r>
            <a:endParaRPr lang="fr-FR" sz="1000">
              <a:solidFill>
                <a:srgbClr val="FFFFFF"/>
              </a:solidFill>
            </a:endParaRP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09CA831D-4443-529D-1821-B232B99931DD}"/>
              </a:ext>
            </a:extLst>
          </p:cNvPr>
          <p:cNvGrpSpPr/>
          <p:nvPr/>
        </p:nvGrpSpPr>
        <p:grpSpPr>
          <a:xfrm>
            <a:off x="3034796" y="961595"/>
            <a:ext cx="4480981" cy="2520176"/>
            <a:chOff x="3034796" y="961595"/>
            <a:chExt cx="4480981" cy="2520176"/>
          </a:xfrm>
        </p:grpSpPr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BA6D579-C2BA-45DB-AB90-7748D6CEB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34796" y="961595"/>
              <a:ext cx="4480981" cy="2520176"/>
            </a:xfrm>
            <a:prstGeom prst="rect">
              <a:avLst/>
            </a:prstGeom>
          </p:spPr>
        </p:pic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3F34B5BE-5449-377E-F41F-65D3857E10CA}"/>
                </a:ext>
              </a:extLst>
            </p:cNvPr>
            <p:cNvSpPr/>
            <p:nvPr/>
          </p:nvSpPr>
          <p:spPr>
            <a:xfrm>
              <a:off x="4498521" y="2702378"/>
              <a:ext cx="171450" cy="220435"/>
            </a:xfrm>
            <a:prstGeom prst="ellipse">
              <a:avLst/>
            </a:prstGeom>
            <a:solidFill>
              <a:srgbClr val="9B969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772775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9FD0A1B9-5762-47C7-AE4E-69D3EC958E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0" imgH="531" progId="TCLayout.ActiveDocument.1">
                  <p:embed/>
                </p:oleObj>
              </mc:Choice>
              <mc:Fallback>
                <p:oleObj name="Diapositive think-cell" r:id="rId3" imgW="530" imgH="531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9FD0A1B9-5762-47C7-AE4E-69D3EC958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71C95A-4CB9-F54D-A092-BF10DE5F186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>
            <a:normAutofit/>
          </a:bodyPr>
          <a:lstStyle/>
          <a:p>
            <a:r>
              <a:rPr lang="en-GB" dirty="0"/>
              <a:t>ISS le site référent dans le </a:t>
            </a:r>
            <a:r>
              <a:rPr lang="en-GB" dirty="0" err="1"/>
              <a:t>domaine</a:t>
            </a:r>
            <a:r>
              <a:rPr lang="en-GB" dirty="0"/>
              <a:t> des </a:t>
            </a:r>
            <a:r>
              <a:rPr lang="en-GB" dirty="0" err="1"/>
              <a:t>argiles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B1906C-C0B2-1049-9BD4-5E024AEC20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24829" y="1036473"/>
            <a:ext cx="3394401" cy="3514407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257175" indent="-257175" algn="just">
              <a:buClr>
                <a:srgbClr val="2898D4"/>
              </a:buClr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tx2"/>
                </a:solidFill>
                <a:latin typeface="+mj-lt"/>
              </a:rPr>
              <a:t>L’unité de traitement des argiles du groupe MAYOLY est implantée à </a:t>
            </a:r>
            <a:r>
              <a:rPr lang="fr-FR" sz="1400" b="1" dirty="0">
                <a:solidFill>
                  <a:schemeClr val="tx2"/>
                </a:solidFill>
                <a:latin typeface="+mj-lt"/>
              </a:rPr>
              <a:t>l’Isle sur la Sorgue (Vaucluse) </a:t>
            </a:r>
            <a:r>
              <a:rPr lang="fr-FR" sz="1400" dirty="0">
                <a:solidFill>
                  <a:schemeClr val="tx2"/>
                </a:solidFill>
                <a:latin typeface="+mj-lt"/>
              </a:rPr>
              <a:t>depuis 1963 et en un demi-siècle, ce site est devenu un </a:t>
            </a:r>
            <a:r>
              <a:rPr lang="fr-FR" sz="1400" b="1" dirty="0">
                <a:solidFill>
                  <a:schemeClr val="tx2"/>
                </a:solidFill>
                <a:latin typeface="+mj-lt"/>
              </a:rPr>
              <a:t>référent dans le domaine des argiles thérapeutiques</a:t>
            </a:r>
          </a:p>
          <a:p>
            <a:pPr marL="0" indent="0" algn="just">
              <a:buClr>
                <a:srgbClr val="2898D4"/>
              </a:buClr>
              <a:buNone/>
            </a:pPr>
            <a:endParaRPr lang="fr-FR" sz="1400" b="1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257175" indent="-257175" algn="just">
              <a:buClr>
                <a:srgbClr val="2898D4"/>
              </a:buClr>
              <a:buFont typeface="Wingdings" panose="05000000000000000000" pitchFamily="2" charset="2"/>
              <a:buChar char="§"/>
            </a:pPr>
            <a:r>
              <a:rPr lang="fr-FR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puis 5 ans le site de l’Isle sur la Sorgue a fortement investi dans la </a:t>
            </a:r>
            <a:r>
              <a:rPr lang="fr-FR" sz="14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odernisation de ses équipements et dans la construction d’un pôle de développement en 2018 </a:t>
            </a:r>
            <a:r>
              <a:rPr lang="fr-FR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pour devenir </a:t>
            </a:r>
            <a:r>
              <a:rPr lang="fr-FR" sz="14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eader sur le marché des argiles</a:t>
            </a:r>
            <a:r>
              <a:rPr lang="fr-FR" sz="1400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.</a:t>
            </a:r>
          </a:p>
          <a:p>
            <a:pPr algn="just">
              <a:buClr>
                <a:srgbClr val="2898D4"/>
              </a:buClr>
            </a:pPr>
            <a:endParaRPr lang="fr-FR" sz="1200" b="1" dirty="0">
              <a:latin typeface="PF Highway Sans Pro" panose="02000500000000020004"/>
              <a:cs typeface="Arial" panose="020B0604020202020204" pitchFamily="34" charset="0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4782C61B-94F4-4612-99DE-5CF0BE9E4ECB}"/>
              </a:ext>
            </a:extLst>
          </p:cNvPr>
          <p:cNvGrpSpPr/>
          <p:nvPr/>
        </p:nvGrpSpPr>
        <p:grpSpPr>
          <a:xfrm>
            <a:off x="8618719" y="0"/>
            <a:ext cx="875589" cy="876816"/>
            <a:chOff x="9104677" y="1861872"/>
            <a:chExt cx="1167452" cy="1169088"/>
          </a:xfrm>
        </p:grpSpPr>
        <p:grpSp>
          <p:nvGrpSpPr>
            <p:cNvPr id="11" name="Groupe 10">
              <a:extLst>
                <a:ext uri="{FF2B5EF4-FFF2-40B4-BE49-F238E27FC236}">
                  <a16:creationId xmlns:a16="http://schemas.microsoft.com/office/drawing/2014/main" id="{29917F2A-E9BF-4426-A5CC-8092E4BCA16C}"/>
                </a:ext>
              </a:extLst>
            </p:cNvPr>
            <p:cNvGrpSpPr/>
            <p:nvPr/>
          </p:nvGrpSpPr>
          <p:grpSpPr>
            <a:xfrm>
              <a:off x="9104677" y="1861872"/>
              <a:ext cx="1167452" cy="1167452"/>
              <a:chOff x="11470387" y="104108"/>
              <a:chExt cx="1167452" cy="1167452"/>
            </a:xfrm>
          </p:grpSpPr>
          <p:sp>
            <p:nvSpPr>
              <p:cNvPr id="14" name="Corde 13">
                <a:extLst>
                  <a:ext uri="{FF2B5EF4-FFF2-40B4-BE49-F238E27FC236}">
                    <a16:creationId xmlns:a16="http://schemas.microsoft.com/office/drawing/2014/main" id="{4D102678-B10F-4B3B-936C-6094096B0D79}"/>
                  </a:ext>
                </a:extLst>
              </p:cNvPr>
              <p:cNvSpPr/>
              <p:nvPr/>
            </p:nvSpPr>
            <p:spPr>
              <a:xfrm rot="1897068">
                <a:off x="11470387" y="104108"/>
                <a:ext cx="1167452" cy="1167452"/>
              </a:xfrm>
              <a:prstGeom prst="chord">
                <a:avLst>
                  <a:gd name="adj1" fmla="val 2700000"/>
                  <a:gd name="adj2" fmla="val 1511377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fr-FR" sz="135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0657795C-7112-4E61-B985-1733FA934E8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r="10866" b="12151"/>
              <a:stretch/>
            </p:blipFill>
            <p:spPr>
              <a:xfrm>
                <a:off x="11532192" y="240998"/>
                <a:ext cx="677752" cy="667981"/>
              </a:xfrm>
              <a:prstGeom prst="rect">
                <a:avLst/>
              </a:prstGeom>
            </p:spPr>
          </p:pic>
        </p:grp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7A080C6D-F0A1-49D5-B76A-2630F011FFBD}"/>
                </a:ext>
              </a:extLst>
            </p:cNvPr>
            <p:cNvSpPr txBox="1"/>
            <p:nvPr/>
          </p:nvSpPr>
          <p:spPr>
            <a:xfrm>
              <a:off x="9245908" y="2600073"/>
              <a:ext cx="623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ts val="570"/>
                </a:lnSpc>
                <a:defRPr/>
              </a:pPr>
              <a:r>
                <a:rPr lang="fr-FR" sz="600">
                  <a:solidFill>
                    <a:srgbClr val="0A4055"/>
                  </a:solidFill>
                  <a:latin typeface="Arial" panose="020B0604020202020204"/>
                </a:rPr>
                <a:t>L’Isle-sur-la-Sorgue</a:t>
              </a:r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4142BB54-9A9E-470A-94BE-E0DCE70BB4C6}"/>
                </a:ext>
              </a:extLst>
            </p:cNvPr>
            <p:cNvSpPr/>
            <p:nvPr/>
          </p:nvSpPr>
          <p:spPr>
            <a:xfrm>
              <a:off x="9659045" y="2481488"/>
              <a:ext cx="58723" cy="587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sz="135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18" name="ZoneTexte 17">
            <a:extLst>
              <a:ext uri="{FF2B5EF4-FFF2-40B4-BE49-F238E27FC236}">
                <a16:creationId xmlns:a16="http://schemas.microsoft.com/office/drawing/2014/main" id="{74640BE0-10D7-41E4-8200-1B6C280258AB}"/>
              </a:ext>
            </a:extLst>
          </p:cNvPr>
          <p:cNvSpPr txBox="1"/>
          <p:nvPr/>
        </p:nvSpPr>
        <p:spPr>
          <a:xfrm>
            <a:off x="8240714" y="480543"/>
            <a:ext cx="1043861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000">
                <a:solidFill>
                  <a:schemeClr val="bg1"/>
                </a:solidFill>
                <a:cs typeface="Arial"/>
              </a:rPr>
              <a:t>LDS</a:t>
            </a:r>
            <a:endParaRPr lang="fr-FR" sz="1000">
              <a:solidFill>
                <a:srgbClr val="FFFFFF"/>
              </a:solidFill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2A9CE78A-D83E-3F45-35F1-582E828157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771" y="851914"/>
            <a:ext cx="5558064" cy="4118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5397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83" name="Freeform 7"/>
          <p:cNvSpPr>
            <a:spLocks/>
          </p:cNvSpPr>
          <p:nvPr/>
        </p:nvSpPr>
        <p:spPr bwMode="auto">
          <a:xfrm>
            <a:off x="2579077" y="2438400"/>
            <a:ext cx="1348154" cy="247650"/>
          </a:xfrm>
          <a:custGeom>
            <a:avLst/>
            <a:gdLst>
              <a:gd name="T0" fmla="*/ 0 w 920"/>
              <a:gd name="T1" fmla="*/ 208 h 208"/>
              <a:gd name="T2" fmla="*/ 464 w 920"/>
              <a:gd name="T3" fmla="*/ 152 h 208"/>
              <a:gd name="T4" fmla="*/ 704 w 920"/>
              <a:gd name="T5" fmla="*/ 112 h 208"/>
              <a:gd name="T6" fmla="*/ 920 w 920"/>
              <a:gd name="T7" fmla="*/ 16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20" h="208">
                <a:moveTo>
                  <a:pt x="0" y="208"/>
                </a:moveTo>
                <a:cubicBezTo>
                  <a:pt x="147" y="134"/>
                  <a:pt x="294" y="156"/>
                  <a:pt x="464" y="152"/>
                </a:cubicBezTo>
                <a:cubicBezTo>
                  <a:pt x="543" y="126"/>
                  <a:pt x="633" y="159"/>
                  <a:pt x="704" y="112"/>
                </a:cubicBezTo>
                <a:cubicBezTo>
                  <a:pt x="760" y="0"/>
                  <a:pt x="797" y="16"/>
                  <a:pt x="920" y="16"/>
                </a:cubicBezTo>
              </a:path>
            </a:pathLst>
          </a:custGeom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pPr defTabSz="685783">
              <a:defRPr/>
            </a:pPr>
            <a:endParaRPr lang="fr-FR"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317" name="Freeform 8"/>
          <p:cNvSpPr>
            <a:spLocks/>
          </p:cNvSpPr>
          <p:nvPr/>
        </p:nvSpPr>
        <p:spPr bwMode="auto">
          <a:xfrm>
            <a:off x="199293" y="2438401"/>
            <a:ext cx="7244863" cy="2512219"/>
          </a:xfrm>
          <a:custGeom>
            <a:avLst/>
            <a:gdLst>
              <a:gd name="T0" fmla="*/ 2641600 w 4944"/>
              <a:gd name="T1" fmla="*/ 304800 h 2152"/>
              <a:gd name="T2" fmla="*/ 4127500 w 4944"/>
              <a:gd name="T3" fmla="*/ 0 h 2152"/>
              <a:gd name="T4" fmla="*/ 4572000 w 4944"/>
              <a:gd name="T5" fmla="*/ 635000 h 2152"/>
              <a:gd name="T6" fmla="*/ 5613400 w 4944"/>
              <a:gd name="T7" fmla="*/ 558800 h 2152"/>
              <a:gd name="T8" fmla="*/ 5994400 w 4944"/>
              <a:gd name="T9" fmla="*/ 1206500 h 2152"/>
              <a:gd name="T10" fmla="*/ 6553200 w 4944"/>
              <a:gd name="T11" fmla="*/ 1701800 h 2152"/>
              <a:gd name="T12" fmla="*/ 6807200 w 4944"/>
              <a:gd name="T13" fmla="*/ 1651000 h 2152"/>
              <a:gd name="T14" fmla="*/ 7696200 w 4944"/>
              <a:gd name="T15" fmla="*/ 1968500 h 2152"/>
              <a:gd name="T16" fmla="*/ 7848600 w 4944"/>
              <a:gd name="T17" fmla="*/ 2730500 h 2152"/>
              <a:gd name="T18" fmla="*/ 7518400 w 4944"/>
              <a:gd name="T19" fmla="*/ 3390900 h 2152"/>
              <a:gd name="T20" fmla="*/ 7073900 w 4944"/>
              <a:gd name="T21" fmla="*/ 3416300 h 2152"/>
              <a:gd name="T22" fmla="*/ 6642100 w 4944"/>
              <a:gd name="T23" fmla="*/ 3022600 h 2152"/>
              <a:gd name="T24" fmla="*/ 6591300 w 4944"/>
              <a:gd name="T25" fmla="*/ 2362200 h 2152"/>
              <a:gd name="T26" fmla="*/ 4953000 w 4944"/>
              <a:gd name="T27" fmla="*/ 2095500 h 2152"/>
              <a:gd name="T28" fmla="*/ 4902200 w 4944"/>
              <a:gd name="T29" fmla="*/ 1778000 h 2152"/>
              <a:gd name="T30" fmla="*/ 0 w 4944"/>
              <a:gd name="T31" fmla="*/ 1473200 h 2152"/>
              <a:gd name="T32" fmla="*/ 584200 w 4944"/>
              <a:gd name="T33" fmla="*/ 1066800 h 2152"/>
              <a:gd name="T34" fmla="*/ 101600 w 4944"/>
              <a:gd name="T35" fmla="*/ 927100 h 2152"/>
              <a:gd name="T36" fmla="*/ 1308100 w 4944"/>
              <a:gd name="T37" fmla="*/ 546100 h 2152"/>
              <a:gd name="T38" fmla="*/ 1879600 w 4944"/>
              <a:gd name="T39" fmla="*/ 533400 h 2152"/>
              <a:gd name="T40" fmla="*/ 2184400 w 4944"/>
              <a:gd name="T41" fmla="*/ 406400 h 2152"/>
              <a:gd name="T42" fmla="*/ 2832100 w 4944"/>
              <a:gd name="T43" fmla="*/ 520700 h 2152"/>
              <a:gd name="T44" fmla="*/ 3479800 w 4944"/>
              <a:gd name="T45" fmla="*/ 457200 h 2152"/>
              <a:gd name="T46" fmla="*/ 3403600 w 4944"/>
              <a:gd name="T47" fmla="*/ 368300 h 2152"/>
              <a:gd name="T48" fmla="*/ 2641600 w 4944"/>
              <a:gd name="T49" fmla="*/ 304800 h 215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944" h="2152">
                <a:moveTo>
                  <a:pt x="1664" y="192"/>
                </a:moveTo>
                <a:lnTo>
                  <a:pt x="2600" y="0"/>
                </a:lnTo>
                <a:lnTo>
                  <a:pt x="2880" y="400"/>
                </a:lnTo>
                <a:lnTo>
                  <a:pt x="3536" y="352"/>
                </a:lnTo>
                <a:lnTo>
                  <a:pt x="3776" y="760"/>
                </a:lnTo>
                <a:lnTo>
                  <a:pt x="4128" y="1072"/>
                </a:lnTo>
                <a:lnTo>
                  <a:pt x="4288" y="1040"/>
                </a:lnTo>
                <a:lnTo>
                  <a:pt x="4848" y="1240"/>
                </a:lnTo>
                <a:lnTo>
                  <a:pt x="4944" y="1720"/>
                </a:lnTo>
                <a:lnTo>
                  <a:pt x="4736" y="2136"/>
                </a:lnTo>
                <a:lnTo>
                  <a:pt x="4456" y="2152"/>
                </a:lnTo>
                <a:lnTo>
                  <a:pt x="4184" y="1904"/>
                </a:lnTo>
                <a:lnTo>
                  <a:pt x="4152" y="1488"/>
                </a:lnTo>
                <a:lnTo>
                  <a:pt x="3120" y="1320"/>
                </a:lnTo>
                <a:lnTo>
                  <a:pt x="3088" y="1120"/>
                </a:lnTo>
                <a:lnTo>
                  <a:pt x="0" y="928"/>
                </a:lnTo>
                <a:lnTo>
                  <a:pt x="368" y="672"/>
                </a:lnTo>
                <a:lnTo>
                  <a:pt x="64" y="584"/>
                </a:lnTo>
                <a:lnTo>
                  <a:pt x="824" y="344"/>
                </a:lnTo>
                <a:lnTo>
                  <a:pt x="1184" y="336"/>
                </a:lnTo>
                <a:lnTo>
                  <a:pt x="1376" y="256"/>
                </a:lnTo>
                <a:lnTo>
                  <a:pt x="1784" y="328"/>
                </a:lnTo>
                <a:lnTo>
                  <a:pt x="2192" y="288"/>
                </a:lnTo>
                <a:lnTo>
                  <a:pt x="2144" y="232"/>
                </a:lnTo>
                <a:lnTo>
                  <a:pt x="1664" y="192"/>
                </a:lnTo>
                <a:close/>
              </a:path>
            </a:pathLst>
          </a:custGeom>
          <a:noFill/>
          <a:ln w="19050" cmpd="sng">
            <a:solidFill>
              <a:srgbClr val="FF0000"/>
            </a:solidFill>
            <a:round/>
            <a:headEnd/>
            <a:tailEnd/>
          </a:ln>
          <a:effectLst>
            <a:prstShdw prst="shdw17" dist="17961" dir="2700000">
              <a:srgbClr val="990000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/>
          <a:lstStyle/>
          <a:p>
            <a:pPr defTabSz="685783">
              <a:defRPr/>
            </a:pPr>
            <a:endParaRPr lang="fr-FR"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3785" name="Text Box 9"/>
          <p:cNvSpPr txBox="1">
            <a:spLocks noChangeArrowheads="1"/>
          </p:cNvSpPr>
          <p:nvPr/>
        </p:nvSpPr>
        <p:spPr bwMode="auto">
          <a:xfrm>
            <a:off x="2473569" y="511974"/>
            <a:ext cx="5029200" cy="55399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685783">
              <a:spcBef>
                <a:spcPct val="50000"/>
              </a:spcBef>
              <a:defRPr/>
            </a:pPr>
            <a:r>
              <a:rPr lang="fr-FR" sz="1200" b="1" err="1">
                <a:solidFill>
                  <a:prstClr val="black"/>
                </a:solidFill>
                <a:latin typeface="Calibri"/>
              </a:rPr>
              <a:t>Built</a:t>
            </a:r>
            <a:r>
              <a:rPr lang="fr-FR" sz="1200" b="1">
                <a:solidFill>
                  <a:prstClr val="black"/>
                </a:solidFill>
                <a:latin typeface="Calibri"/>
              </a:rPr>
              <a:t>			12 000 m2	 </a:t>
            </a:r>
          </a:p>
          <a:p>
            <a:pPr defTabSz="685783">
              <a:spcBef>
                <a:spcPct val="50000"/>
              </a:spcBef>
              <a:defRPr/>
            </a:pPr>
            <a:r>
              <a:rPr lang="fr-FR" sz="1200" b="1">
                <a:solidFill>
                  <a:prstClr val="black"/>
                </a:solidFill>
                <a:latin typeface="Calibri"/>
              </a:rPr>
              <a:t>Non </a:t>
            </a:r>
            <a:r>
              <a:rPr lang="fr-FR" sz="1200" b="1" err="1">
                <a:solidFill>
                  <a:prstClr val="black"/>
                </a:solidFill>
                <a:latin typeface="Calibri"/>
              </a:rPr>
              <a:t>Built</a:t>
            </a:r>
            <a:r>
              <a:rPr lang="fr-FR" sz="1200" b="1">
                <a:solidFill>
                  <a:prstClr val="black"/>
                </a:solidFill>
                <a:latin typeface="Calibri"/>
              </a:rPr>
              <a:t> 		      	31 600 m2</a:t>
            </a:r>
          </a:p>
        </p:txBody>
      </p:sp>
      <p:sp>
        <p:nvSpPr>
          <p:cNvPr id="7" name="Espace réservé du pied de page 2">
            <a:extLst>
              <a:ext uri="{FF2B5EF4-FFF2-40B4-BE49-F238E27FC236}">
                <a16:creationId xmlns:a16="http://schemas.microsoft.com/office/drawing/2014/main" id="{C42A2786-7C42-4535-AC4B-DEE75C4FFC1F}"/>
              </a:ext>
            </a:extLst>
          </p:cNvPr>
          <p:cNvSpPr txBox="1">
            <a:spLocks/>
          </p:cNvSpPr>
          <p:nvPr/>
        </p:nvSpPr>
        <p:spPr>
          <a:xfrm>
            <a:off x="3136002" y="490310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PF Highway Sans Pro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defRPr/>
            </a:pPr>
            <a:r>
              <a:rPr lang="en-US" sz="600" spc="-20">
                <a:solidFill>
                  <a:srgbClr val="0B4055"/>
                </a:solidFill>
                <a:latin typeface="Raleway-Light" charset="0"/>
              </a:rPr>
              <a:t>Internal Ipsen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44A2BA0B-1C3D-4252-AB54-216E1A9B99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FA555942-AAAB-416B-94A9-CFE44AC18452}"/>
              </a:ext>
            </a:extLst>
          </p:cNvPr>
          <p:cNvCxnSpPr/>
          <p:nvPr/>
        </p:nvCxnSpPr>
        <p:spPr>
          <a:xfrm flipV="1">
            <a:off x="1597843" y="2849252"/>
            <a:ext cx="875726" cy="756501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B6808A58-29F1-426C-90FA-7366329617D4}"/>
              </a:ext>
            </a:extLst>
          </p:cNvPr>
          <p:cNvCxnSpPr>
            <a:cxnSpLocks/>
          </p:cNvCxnSpPr>
          <p:nvPr/>
        </p:nvCxnSpPr>
        <p:spPr>
          <a:xfrm>
            <a:off x="2473570" y="2856758"/>
            <a:ext cx="662433" cy="0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072634F2-415D-41A5-AA77-317336AB78DE}"/>
              </a:ext>
            </a:extLst>
          </p:cNvPr>
          <p:cNvCxnSpPr>
            <a:cxnSpLocks/>
          </p:cNvCxnSpPr>
          <p:nvPr/>
        </p:nvCxnSpPr>
        <p:spPr>
          <a:xfrm flipV="1">
            <a:off x="3136003" y="1583704"/>
            <a:ext cx="1134341" cy="1273055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5A9A0F98-9634-444C-8750-464F9748817C}"/>
              </a:ext>
            </a:extLst>
          </p:cNvPr>
          <p:cNvCxnSpPr>
            <a:cxnSpLocks/>
          </p:cNvCxnSpPr>
          <p:nvPr/>
        </p:nvCxnSpPr>
        <p:spPr>
          <a:xfrm>
            <a:off x="4270344" y="1569562"/>
            <a:ext cx="4853818" cy="533066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405C6DA0-75F7-4E2C-9C31-AEB34AF2715A}"/>
              </a:ext>
            </a:extLst>
          </p:cNvPr>
          <p:cNvCxnSpPr>
            <a:cxnSpLocks/>
          </p:cNvCxnSpPr>
          <p:nvPr/>
        </p:nvCxnSpPr>
        <p:spPr>
          <a:xfrm flipV="1">
            <a:off x="8106588" y="2350010"/>
            <a:ext cx="1055168" cy="499243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DF19F656-8DE5-42A4-B722-157D471696B9}"/>
              </a:ext>
            </a:extLst>
          </p:cNvPr>
          <p:cNvCxnSpPr>
            <a:cxnSpLocks/>
          </p:cNvCxnSpPr>
          <p:nvPr/>
        </p:nvCxnSpPr>
        <p:spPr>
          <a:xfrm flipH="1" flipV="1">
            <a:off x="8106589" y="2856758"/>
            <a:ext cx="301916" cy="611892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6C8D3AC8-61CA-4197-9F2B-4FA0465C69C6}"/>
              </a:ext>
            </a:extLst>
          </p:cNvPr>
          <p:cNvCxnSpPr>
            <a:cxnSpLocks/>
          </p:cNvCxnSpPr>
          <p:nvPr/>
        </p:nvCxnSpPr>
        <p:spPr>
          <a:xfrm flipV="1">
            <a:off x="2814113" y="3444889"/>
            <a:ext cx="5594391" cy="660302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Connecteur droit 40">
            <a:extLst>
              <a:ext uri="{FF2B5EF4-FFF2-40B4-BE49-F238E27FC236}">
                <a16:creationId xmlns:a16="http://schemas.microsoft.com/office/drawing/2014/main" id="{4A23C470-E752-4A15-BB1F-1D3B850B2994}"/>
              </a:ext>
            </a:extLst>
          </p:cNvPr>
          <p:cNvCxnSpPr/>
          <p:nvPr/>
        </p:nvCxnSpPr>
        <p:spPr>
          <a:xfrm flipV="1">
            <a:off x="1938388" y="4105190"/>
            <a:ext cx="875726" cy="756501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3C3F8F8B-31E7-4BDA-9CFF-24913DF007E2}"/>
              </a:ext>
            </a:extLst>
          </p:cNvPr>
          <p:cNvCxnSpPr>
            <a:cxnSpLocks/>
          </p:cNvCxnSpPr>
          <p:nvPr/>
        </p:nvCxnSpPr>
        <p:spPr>
          <a:xfrm>
            <a:off x="1" y="3549193"/>
            <a:ext cx="1597844" cy="56561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0267B0DE-3694-41A5-A45A-45B16B7D02FD}"/>
              </a:ext>
            </a:extLst>
          </p:cNvPr>
          <p:cNvCxnSpPr>
            <a:cxnSpLocks/>
          </p:cNvCxnSpPr>
          <p:nvPr/>
        </p:nvCxnSpPr>
        <p:spPr>
          <a:xfrm>
            <a:off x="1" y="4846544"/>
            <a:ext cx="1938387" cy="15147"/>
          </a:xfrm>
          <a:prstGeom prst="line">
            <a:avLst/>
          </a:prstGeom>
          <a:ln w="3810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9" name="Rectangle 2">
            <a:extLst>
              <a:ext uri="{FF2B5EF4-FFF2-40B4-BE49-F238E27FC236}">
                <a16:creationId xmlns:a16="http://schemas.microsoft.com/office/drawing/2014/main" id="{16C658AF-8A0F-46CB-87FF-CFEF0B12208E}"/>
              </a:ext>
            </a:extLst>
          </p:cNvPr>
          <p:cNvSpPr txBox="1">
            <a:spLocks noChangeArrowheads="1"/>
          </p:cNvSpPr>
          <p:nvPr/>
        </p:nvSpPr>
        <p:spPr>
          <a:xfrm>
            <a:off x="2003282" y="221581"/>
            <a:ext cx="4106382" cy="433219"/>
          </a:xfrm>
        </p:spPr>
        <p:txBody>
          <a:bodyPr lIns="91440" tIns="45720" rIns="91440" bIns="45720" anchor="b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03C68"/>
                </a:solidFill>
                <a:latin typeface="PF Highway Sans Pro" charset="0"/>
                <a:ea typeface="PF Highway Sans Pro" charset="0"/>
                <a:cs typeface="PF Highway Sans Pro" charset="0"/>
              </a:defRPr>
            </a:lvl1pPr>
          </a:lstStyle>
          <a:p>
            <a:r>
              <a:rPr lang="fr-FR" altLang="fr-FR" sz="3600" b="1">
                <a:solidFill>
                  <a:schemeClr val="bg1"/>
                </a:solidFill>
                <a:latin typeface="PF Highway Sans Pro"/>
              </a:rPr>
              <a:t>UN SITE UNIQUE </a:t>
            </a:r>
            <a:endParaRPr lang="fr-FR" sz="36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F9754FA-1BC1-427A-BF56-87D4EB32FF07}"/>
              </a:ext>
            </a:extLst>
          </p:cNvPr>
          <p:cNvSpPr/>
          <p:nvPr/>
        </p:nvSpPr>
        <p:spPr>
          <a:xfrm>
            <a:off x="4619195" y="2350010"/>
            <a:ext cx="106188" cy="549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30448E1A-078E-263D-D1D5-893D8EC85D17}"/>
              </a:ext>
            </a:extLst>
          </p:cNvPr>
          <p:cNvSpPr/>
          <p:nvPr/>
        </p:nvSpPr>
        <p:spPr>
          <a:xfrm>
            <a:off x="6744866" y="79310"/>
            <a:ext cx="1753765" cy="569817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fr-FR" sz="1600" b="1">
                <a:solidFill>
                  <a:srgbClr val="242852"/>
                </a:solidFill>
                <a:latin typeface="Arial"/>
                <a:ea typeface="Segoe UI"/>
                <a:cs typeface="Segoe UI"/>
              </a:rPr>
              <a:t>43620 m2</a:t>
            </a:r>
            <a:r>
              <a:rPr lang="en-US" sz="1600">
                <a:solidFill>
                  <a:srgbClr val="242852"/>
                </a:solidFill>
                <a:latin typeface="Arial"/>
                <a:ea typeface="Segoe UI"/>
                <a:cs typeface="Segoe UI"/>
              </a:rPr>
              <a:t>​  </a:t>
            </a:r>
            <a:endParaRPr lang="fr-FR" sz="1600">
              <a:solidFill>
                <a:srgbClr val="242852"/>
              </a:solidFill>
              <a:latin typeface="Arial"/>
              <a:ea typeface="Segoe UI"/>
              <a:cs typeface="Arial"/>
            </a:endParaRPr>
          </a:p>
          <a:p>
            <a:r>
              <a:rPr lang="fr-FR" sz="1600" b="1">
                <a:solidFill>
                  <a:srgbClr val="242852"/>
                </a:solidFill>
                <a:cs typeface="Arial"/>
              </a:rPr>
              <a:t>12 000 m2 </a:t>
            </a:r>
            <a:r>
              <a:rPr lang="en-US" sz="1600" err="1">
                <a:solidFill>
                  <a:srgbClr val="242852"/>
                </a:solidFill>
                <a:cs typeface="Arial"/>
              </a:rPr>
              <a:t>bâtis</a:t>
            </a:r>
            <a:endParaRPr lang="en-US" sz="1600" err="1">
              <a:ea typeface="+mn-lt"/>
              <a:cs typeface="+mn-lt"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C3356BFD-317D-A791-6A30-B95AC0C934FB}"/>
              </a:ext>
            </a:extLst>
          </p:cNvPr>
          <p:cNvGrpSpPr/>
          <p:nvPr/>
        </p:nvGrpSpPr>
        <p:grpSpPr>
          <a:xfrm>
            <a:off x="8609134" y="0"/>
            <a:ext cx="875589" cy="876816"/>
            <a:chOff x="9104677" y="1861872"/>
            <a:chExt cx="1167452" cy="1169088"/>
          </a:xfrm>
        </p:grpSpPr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176E4762-A7CE-DECE-941F-8CE91E0A7A8B}"/>
                </a:ext>
              </a:extLst>
            </p:cNvPr>
            <p:cNvGrpSpPr/>
            <p:nvPr/>
          </p:nvGrpSpPr>
          <p:grpSpPr>
            <a:xfrm>
              <a:off x="9104677" y="1861872"/>
              <a:ext cx="1167452" cy="1167452"/>
              <a:chOff x="11470387" y="104108"/>
              <a:chExt cx="1167452" cy="1167452"/>
            </a:xfrm>
          </p:grpSpPr>
          <p:sp>
            <p:nvSpPr>
              <p:cNvPr id="10" name="Corde 9">
                <a:extLst>
                  <a:ext uri="{FF2B5EF4-FFF2-40B4-BE49-F238E27FC236}">
                    <a16:creationId xmlns:a16="http://schemas.microsoft.com/office/drawing/2014/main" id="{A3AF896A-73CA-7F28-7184-6AE7BCC46825}"/>
                  </a:ext>
                </a:extLst>
              </p:cNvPr>
              <p:cNvSpPr/>
              <p:nvPr/>
            </p:nvSpPr>
            <p:spPr>
              <a:xfrm rot="1897068">
                <a:off x="11470387" y="104108"/>
                <a:ext cx="1167452" cy="1167452"/>
              </a:xfrm>
              <a:prstGeom prst="chord">
                <a:avLst>
                  <a:gd name="adj1" fmla="val 2700000"/>
                  <a:gd name="adj2" fmla="val 1511377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fr-FR" sz="135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12" name="Image 11">
                <a:extLst>
                  <a:ext uri="{FF2B5EF4-FFF2-40B4-BE49-F238E27FC236}">
                    <a16:creationId xmlns:a16="http://schemas.microsoft.com/office/drawing/2014/main" id="{BE5B65EC-DB80-7B8B-D8FE-FEF0833FBC7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r="10866" b="12151"/>
              <a:stretch/>
            </p:blipFill>
            <p:spPr>
              <a:xfrm>
                <a:off x="11532192" y="240998"/>
                <a:ext cx="677752" cy="667981"/>
              </a:xfrm>
              <a:prstGeom prst="rect">
                <a:avLst/>
              </a:prstGeom>
            </p:spPr>
          </p:pic>
        </p:grp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E6221B1C-E2F5-2E76-6191-EC661C45E0F6}"/>
                </a:ext>
              </a:extLst>
            </p:cNvPr>
            <p:cNvSpPr txBox="1"/>
            <p:nvPr/>
          </p:nvSpPr>
          <p:spPr>
            <a:xfrm>
              <a:off x="9245908" y="2600073"/>
              <a:ext cx="623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ts val="570"/>
                </a:lnSpc>
                <a:defRPr/>
              </a:pPr>
              <a:r>
                <a:rPr lang="fr-FR" sz="600">
                  <a:solidFill>
                    <a:srgbClr val="0A4055"/>
                  </a:solidFill>
                  <a:latin typeface="Arial" panose="020B0604020202020204"/>
                </a:rPr>
                <a:t>L’Isle-sur-la-Sorgue</a:t>
              </a:r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EB724107-8466-1F3E-F3D8-1DD255DFDAFC}"/>
                </a:ext>
              </a:extLst>
            </p:cNvPr>
            <p:cNvSpPr/>
            <p:nvPr/>
          </p:nvSpPr>
          <p:spPr>
            <a:xfrm>
              <a:off x="9659045" y="2481488"/>
              <a:ext cx="58723" cy="587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sz="135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73841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D293242-B104-5A42-A40F-39E8EFD211CF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>
            <a:noAutofit/>
          </a:bodyPr>
          <a:lstStyle/>
          <a:p>
            <a:r>
              <a:rPr lang="fr-FR" sz="2400" kern="0">
                <a:latin typeface="Arial"/>
              </a:rPr>
              <a:t>Une équipe engagée pour atteindre les objectifs du groupe</a:t>
            </a:r>
            <a:endParaRPr lang="fr-FR" sz="2400" kern="0">
              <a:latin typeface="Arial"/>
              <a:cs typeface="Arial"/>
            </a:endParaRPr>
          </a:p>
        </p:txBody>
      </p:sp>
      <p:grpSp>
        <p:nvGrpSpPr>
          <p:cNvPr id="79" name="Groupe 78">
            <a:extLst>
              <a:ext uri="{FF2B5EF4-FFF2-40B4-BE49-F238E27FC236}">
                <a16:creationId xmlns:a16="http://schemas.microsoft.com/office/drawing/2014/main" id="{F5E06BA9-B498-48CC-B75E-3C55B27D100F}"/>
              </a:ext>
            </a:extLst>
          </p:cNvPr>
          <p:cNvGrpSpPr/>
          <p:nvPr/>
        </p:nvGrpSpPr>
        <p:grpSpPr>
          <a:xfrm>
            <a:off x="8618718" y="3658"/>
            <a:ext cx="875589" cy="876816"/>
            <a:chOff x="9104677" y="1861872"/>
            <a:chExt cx="1167452" cy="1169088"/>
          </a:xfrm>
        </p:grpSpPr>
        <p:grpSp>
          <p:nvGrpSpPr>
            <p:cNvPr id="80" name="Groupe 79">
              <a:extLst>
                <a:ext uri="{FF2B5EF4-FFF2-40B4-BE49-F238E27FC236}">
                  <a16:creationId xmlns:a16="http://schemas.microsoft.com/office/drawing/2014/main" id="{46149E7C-2C74-4351-BBC7-665876438E29}"/>
                </a:ext>
              </a:extLst>
            </p:cNvPr>
            <p:cNvGrpSpPr/>
            <p:nvPr/>
          </p:nvGrpSpPr>
          <p:grpSpPr>
            <a:xfrm>
              <a:off x="9104677" y="1861872"/>
              <a:ext cx="1167452" cy="1167452"/>
              <a:chOff x="11470387" y="104108"/>
              <a:chExt cx="1167452" cy="1167452"/>
            </a:xfrm>
          </p:grpSpPr>
          <p:sp>
            <p:nvSpPr>
              <p:cNvPr id="83" name="Corde 82">
                <a:extLst>
                  <a:ext uri="{FF2B5EF4-FFF2-40B4-BE49-F238E27FC236}">
                    <a16:creationId xmlns:a16="http://schemas.microsoft.com/office/drawing/2014/main" id="{2F22767F-988D-4F24-BCDB-0E42D7CE57C9}"/>
                  </a:ext>
                </a:extLst>
              </p:cNvPr>
              <p:cNvSpPr/>
              <p:nvPr/>
            </p:nvSpPr>
            <p:spPr>
              <a:xfrm rot="1897068">
                <a:off x="11470387" y="104108"/>
                <a:ext cx="1167452" cy="1167452"/>
              </a:xfrm>
              <a:prstGeom prst="chord">
                <a:avLst>
                  <a:gd name="adj1" fmla="val 2700000"/>
                  <a:gd name="adj2" fmla="val 1511377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fr-FR" sz="135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84" name="Image 83">
                <a:extLst>
                  <a:ext uri="{FF2B5EF4-FFF2-40B4-BE49-F238E27FC236}">
                    <a16:creationId xmlns:a16="http://schemas.microsoft.com/office/drawing/2014/main" id="{DAC0938D-EF5C-4E89-8CB6-8E466FCEC0E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r="10866" b="12151"/>
              <a:stretch/>
            </p:blipFill>
            <p:spPr>
              <a:xfrm>
                <a:off x="11532192" y="240998"/>
                <a:ext cx="677752" cy="667981"/>
              </a:xfrm>
              <a:prstGeom prst="rect">
                <a:avLst/>
              </a:prstGeom>
            </p:spPr>
          </p:pic>
        </p:grpSp>
        <p:sp>
          <p:nvSpPr>
            <p:cNvPr id="81" name="ZoneTexte 80">
              <a:extLst>
                <a:ext uri="{FF2B5EF4-FFF2-40B4-BE49-F238E27FC236}">
                  <a16:creationId xmlns:a16="http://schemas.microsoft.com/office/drawing/2014/main" id="{CEE6A844-E1A4-4809-BFCA-8F4C5DEFC628}"/>
                </a:ext>
              </a:extLst>
            </p:cNvPr>
            <p:cNvSpPr txBox="1"/>
            <p:nvPr/>
          </p:nvSpPr>
          <p:spPr>
            <a:xfrm>
              <a:off x="9245908" y="2600073"/>
              <a:ext cx="623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ts val="570"/>
                </a:lnSpc>
                <a:defRPr/>
              </a:pPr>
              <a:r>
                <a:rPr lang="fr-FR" sz="600">
                  <a:solidFill>
                    <a:srgbClr val="0A4055"/>
                  </a:solidFill>
                  <a:latin typeface="Arial" panose="020B0604020202020204"/>
                </a:rPr>
                <a:t>L’Isle-sur-la-Sorgue</a:t>
              </a:r>
            </a:p>
          </p:txBody>
        </p:sp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B23B54D4-5627-46BC-BC7D-E16896E4DFFC}"/>
                </a:ext>
              </a:extLst>
            </p:cNvPr>
            <p:cNvSpPr/>
            <p:nvPr/>
          </p:nvSpPr>
          <p:spPr>
            <a:xfrm>
              <a:off x="9659045" y="2481488"/>
              <a:ext cx="58723" cy="587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sz="135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pic>
        <p:nvPicPr>
          <p:cNvPr id="19" name="Image 18">
            <a:extLst>
              <a:ext uri="{FF2B5EF4-FFF2-40B4-BE49-F238E27FC236}">
                <a16:creationId xmlns:a16="http://schemas.microsoft.com/office/drawing/2014/main" id="{33C969C2-D1C7-8D29-6217-8C20FCE8CD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1" y="959157"/>
            <a:ext cx="9072798" cy="4184343"/>
          </a:xfrm>
          <a:prstGeom prst="rect">
            <a:avLst/>
          </a:prstGeom>
          <a:solidFill>
            <a:srgbClr val="FFC000"/>
          </a:solidFill>
          <a:ln>
            <a:solidFill>
              <a:srgbClr val="EAB200"/>
            </a:solidFill>
          </a:ln>
        </p:spPr>
      </p:pic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D773B625-4DE5-2B9D-30DA-5A9181F84187}"/>
              </a:ext>
            </a:extLst>
          </p:cNvPr>
          <p:cNvSpPr/>
          <p:nvPr/>
        </p:nvSpPr>
        <p:spPr>
          <a:xfrm>
            <a:off x="5882951" y="1201944"/>
            <a:ext cx="1297831" cy="432048"/>
          </a:xfrm>
          <a:prstGeom prst="roundRect">
            <a:avLst/>
          </a:prstGeom>
          <a:solidFill>
            <a:srgbClr val="FFC000"/>
          </a:solidFill>
          <a:ln w="38100" cap="flat" cmpd="sng" algn="ctr">
            <a:solidFill>
              <a:srgbClr val="EAB200"/>
            </a:solidFill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 defTabSz="685783">
              <a:defRPr/>
            </a:pPr>
            <a:r>
              <a:rPr lang="fr-FR" sz="900" b="1" kern="0">
                <a:solidFill>
                  <a:srgbClr val="FFFFFF"/>
                </a:solidFill>
                <a:latin typeface="PF Highway Sans Pro" panose="02000500000000020004"/>
              </a:rPr>
              <a:t>HR</a:t>
            </a:r>
          </a:p>
          <a:p>
            <a:pPr algn="ctr" defTabSz="685783">
              <a:defRPr/>
            </a:pPr>
            <a:r>
              <a:rPr lang="fr-FR" sz="900" b="1" kern="0">
                <a:solidFill>
                  <a:srgbClr val="FFFFFF"/>
                </a:solidFill>
                <a:latin typeface="PF Highway Sans Pro" panose="02000500000000020004"/>
              </a:rPr>
              <a:t>Marianne JOANNY</a:t>
            </a: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C0A30436-115D-0A95-50C7-8B785BBFE42A}"/>
              </a:ext>
            </a:extLst>
          </p:cNvPr>
          <p:cNvSpPr/>
          <p:nvPr/>
        </p:nvSpPr>
        <p:spPr>
          <a:xfrm>
            <a:off x="5882957" y="1876779"/>
            <a:ext cx="1297825" cy="432048"/>
          </a:xfrm>
          <a:prstGeom prst="roundRect">
            <a:avLst/>
          </a:prstGeom>
          <a:solidFill>
            <a:srgbClr val="FFC000"/>
          </a:solidFill>
          <a:ln w="38100" cap="flat" cmpd="sng" algn="ctr">
            <a:solidFill>
              <a:srgbClr val="EAB200"/>
            </a:solidFill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 defTabSz="685783">
              <a:defRPr/>
            </a:pPr>
            <a:r>
              <a:rPr lang="fr-FR" sz="900" b="1" kern="0" dirty="0">
                <a:solidFill>
                  <a:srgbClr val="FFFFFF"/>
                </a:solidFill>
                <a:latin typeface="PF Highway Sans Pro" panose="02000500000000020004"/>
              </a:rPr>
              <a:t>FINANCE</a:t>
            </a:r>
          </a:p>
          <a:p>
            <a:pPr algn="ctr" defTabSz="685783">
              <a:defRPr/>
            </a:pPr>
            <a:r>
              <a:rPr lang="fr-FR" sz="900" b="1" kern="0" dirty="0">
                <a:solidFill>
                  <a:srgbClr val="FFFFFF"/>
                </a:solidFill>
                <a:latin typeface="PF Highway Sans Pro" panose="02000500000000020004"/>
              </a:rPr>
              <a:t>Céline BODET </a:t>
            </a:r>
          </a:p>
        </p:txBody>
      </p:sp>
      <p:pic>
        <p:nvPicPr>
          <p:cNvPr id="92" name="Image 91">
            <a:extLst>
              <a:ext uri="{FF2B5EF4-FFF2-40B4-BE49-F238E27FC236}">
                <a16:creationId xmlns:a16="http://schemas.microsoft.com/office/drawing/2014/main" id="{9AFAFECB-B6AF-F83C-5FA4-3F3909F9E8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9430" y="1733448"/>
            <a:ext cx="596700" cy="782826"/>
          </a:xfrm>
          <a:prstGeom prst="rect">
            <a:avLst/>
          </a:prstGeom>
        </p:spPr>
      </p:pic>
      <p:pic>
        <p:nvPicPr>
          <p:cNvPr id="99" name="Image 98">
            <a:extLst>
              <a:ext uri="{FF2B5EF4-FFF2-40B4-BE49-F238E27FC236}">
                <a16:creationId xmlns:a16="http://schemas.microsoft.com/office/drawing/2014/main" id="{E5798A17-9433-DBB9-0C9D-4ECADACEE6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9430" y="959157"/>
            <a:ext cx="571847" cy="72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936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7F0CC2E1-2D9A-4A98-9DE1-F8BD7500FA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0" imgH="531" progId="TCLayout.ActiveDocument.1">
                  <p:embed/>
                </p:oleObj>
              </mc:Choice>
              <mc:Fallback>
                <p:oleObj name="Diapositive think-cell" r:id="rId3" imgW="530" imgH="531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7F0CC2E1-2D9A-4A98-9DE1-F8BD7500F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D293242-B104-5A42-A40F-39E8EFD211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/>
              <a:t>Un site unique et performant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B8644174-14B6-43D1-9C17-4BA78EFF7A03}"/>
              </a:ext>
            </a:extLst>
          </p:cNvPr>
          <p:cNvGrpSpPr/>
          <p:nvPr/>
        </p:nvGrpSpPr>
        <p:grpSpPr>
          <a:xfrm>
            <a:off x="8595122" y="21355"/>
            <a:ext cx="875589" cy="876816"/>
            <a:chOff x="9104677" y="1861872"/>
            <a:chExt cx="1167452" cy="1169088"/>
          </a:xfrm>
        </p:grpSpPr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27173FE8-CD61-4A4B-8907-2D9A67699CB1}"/>
                </a:ext>
              </a:extLst>
            </p:cNvPr>
            <p:cNvGrpSpPr/>
            <p:nvPr/>
          </p:nvGrpSpPr>
          <p:grpSpPr>
            <a:xfrm>
              <a:off x="9104677" y="1861872"/>
              <a:ext cx="1167452" cy="1167452"/>
              <a:chOff x="11470387" y="104108"/>
              <a:chExt cx="1167452" cy="1167452"/>
            </a:xfrm>
          </p:grpSpPr>
          <p:sp>
            <p:nvSpPr>
              <p:cNvPr id="8" name="Corde 7">
                <a:extLst>
                  <a:ext uri="{FF2B5EF4-FFF2-40B4-BE49-F238E27FC236}">
                    <a16:creationId xmlns:a16="http://schemas.microsoft.com/office/drawing/2014/main" id="{BEA7FEFF-8C18-499A-886E-113FB4EB75EE}"/>
                  </a:ext>
                </a:extLst>
              </p:cNvPr>
              <p:cNvSpPr/>
              <p:nvPr/>
            </p:nvSpPr>
            <p:spPr>
              <a:xfrm rot="1897068">
                <a:off x="11470387" y="104108"/>
                <a:ext cx="1167452" cy="1167452"/>
              </a:xfrm>
              <a:prstGeom prst="chord">
                <a:avLst>
                  <a:gd name="adj1" fmla="val 2700000"/>
                  <a:gd name="adj2" fmla="val 1511377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fr-FR" sz="1350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pic>
            <p:nvPicPr>
              <p:cNvPr id="9" name="Image 8">
                <a:extLst>
                  <a:ext uri="{FF2B5EF4-FFF2-40B4-BE49-F238E27FC236}">
                    <a16:creationId xmlns:a16="http://schemas.microsoft.com/office/drawing/2014/main" id="{BC5D46DC-45CB-4BF1-B73B-09D08D12835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r="10866" b="12151"/>
              <a:stretch/>
            </p:blipFill>
            <p:spPr>
              <a:xfrm>
                <a:off x="11532192" y="240998"/>
                <a:ext cx="677752" cy="667981"/>
              </a:xfrm>
              <a:prstGeom prst="rect">
                <a:avLst/>
              </a:prstGeom>
            </p:spPr>
          </p:pic>
        </p:grpSp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B001FF8C-E347-480A-8906-7AD8A569637B}"/>
                </a:ext>
              </a:extLst>
            </p:cNvPr>
            <p:cNvSpPr txBox="1"/>
            <p:nvPr/>
          </p:nvSpPr>
          <p:spPr>
            <a:xfrm>
              <a:off x="9245908" y="2600073"/>
              <a:ext cx="6230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lnSpc>
                  <a:spcPts val="570"/>
                </a:lnSpc>
                <a:defRPr/>
              </a:pPr>
              <a:r>
                <a:rPr lang="fr-FR" sz="600">
                  <a:solidFill>
                    <a:srgbClr val="0A4055"/>
                  </a:solidFill>
                  <a:latin typeface="Arial" panose="020B0604020202020204"/>
                </a:rPr>
                <a:t>L’Isle-sur-la-Sorgue</a:t>
              </a:r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0AA7778E-FF8A-49A9-83D3-3790F3A44F2A}"/>
                </a:ext>
              </a:extLst>
            </p:cNvPr>
            <p:cNvSpPr/>
            <p:nvPr/>
          </p:nvSpPr>
          <p:spPr>
            <a:xfrm>
              <a:off x="9659045" y="2481488"/>
              <a:ext cx="58723" cy="5872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fr-FR" sz="135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537B1E15-413E-4E6D-AAB2-2DF0552569B2}"/>
              </a:ext>
            </a:extLst>
          </p:cNvPr>
          <p:cNvSpPr/>
          <p:nvPr/>
        </p:nvSpPr>
        <p:spPr>
          <a:xfrm>
            <a:off x="3179426" y="2802165"/>
            <a:ext cx="2834023" cy="1871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kern="0">
              <a:solidFill>
                <a:sysClr val="windowText" lastClr="000000"/>
              </a:solidFill>
              <a:latin typeface="PF Highway Sans Pro" panose="02000500000000020004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59432D0-E82C-4D09-9E08-81FDAECBABF5}"/>
              </a:ext>
            </a:extLst>
          </p:cNvPr>
          <p:cNvSpPr/>
          <p:nvPr/>
        </p:nvSpPr>
        <p:spPr>
          <a:xfrm>
            <a:off x="109027" y="1101618"/>
            <a:ext cx="2834023" cy="1333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kern="0">
              <a:solidFill>
                <a:sysClr val="windowText" lastClr="000000"/>
              </a:solidFill>
              <a:latin typeface="PF Highway Sans Pro" panose="02000500000000020004"/>
            </a:endParaRP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D4428825-C91B-4C84-B9BC-EAAB87B4639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3145" y="3790725"/>
            <a:ext cx="1215116" cy="8109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850F948-1D34-49A5-B63F-985A717BCC7A}"/>
              </a:ext>
            </a:extLst>
          </p:cNvPr>
          <p:cNvSpPr/>
          <p:nvPr/>
        </p:nvSpPr>
        <p:spPr>
          <a:xfrm>
            <a:off x="3140812" y="1100499"/>
            <a:ext cx="2834023" cy="13439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kern="0">
              <a:solidFill>
                <a:sysClr val="windowText" lastClr="000000"/>
              </a:solidFill>
              <a:latin typeface="PF Highway Sans Pro" panose="02000500000000020004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D9B8FDF-5591-4042-A99A-F8D62E5DD5C3}"/>
              </a:ext>
            </a:extLst>
          </p:cNvPr>
          <p:cNvSpPr/>
          <p:nvPr/>
        </p:nvSpPr>
        <p:spPr>
          <a:xfrm>
            <a:off x="6091881" y="1101618"/>
            <a:ext cx="2834023" cy="1333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kern="0">
              <a:solidFill>
                <a:sysClr val="windowText" lastClr="000000"/>
              </a:solidFill>
              <a:latin typeface="PF Highway Sans Pro" panose="02000500000000020004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C848CA6-5D15-4943-B7BB-3CD76C0BC5B9}"/>
              </a:ext>
            </a:extLst>
          </p:cNvPr>
          <p:cNvSpPr/>
          <p:nvPr/>
        </p:nvSpPr>
        <p:spPr>
          <a:xfrm>
            <a:off x="187372" y="2813338"/>
            <a:ext cx="2834023" cy="18710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kern="0">
              <a:solidFill>
                <a:sysClr val="windowText" lastClr="000000"/>
              </a:solidFill>
              <a:latin typeface="PF Highway Sans Pro" panose="02000500000000020004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799605A-EDCB-4BB5-9E5D-53875DD4FA6F}"/>
              </a:ext>
            </a:extLst>
          </p:cNvPr>
          <p:cNvSpPr/>
          <p:nvPr/>
        </p:nvSpPr>
        <p:spPr>
          <a:xfrm>
            <a:off x="6131522" y="2806958"/>
            <a:ext cx="2834023" cy="18773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fr-FR" sz="1350" kern="0">
              <a:solidFill>
                <a:sysClr val="windowText" lastClr="000000"/>
              </a:solidFill>
              <a:latin typeface="PF Highway Sans Pro" panose="02000500000000020004"/>
            </a:endParaRP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B2B20177-EB2B-4EA1-9341-77A6B9D651CF}"/>
              </a:ext>
            </a:extLst>
          </p:cNvPr>
          <p:cNvSpPr txBox="1">
            <a:spLocks/>
          </p:cNvSpPr>
          <p:nvPr/>
        </p:nvSpPr>
        <p:spPr>
          <a:xfrm>
            <a:off x="187372" y="1197005"/>
            <a:ext cx="2755677" cy="705162"/>
          </a:xfr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lnSpc>
                <a:spcPct val="100000"/>
              </a:lnSpc>
              <a:spcBef>
                <a:spcPts val="750"/>
              </a:spcBef>
              <a:buClr>
                <a:srgbClr val="2898D4"/>
              </a:buClr>
              <a:buNone/>
              <a:defRPr/>
            </a:pPr>
            <a:r>
              <a:rPr lang="fr-FR" sz="1100" b="1">
                <a:solidFill>
                  <a:srgbClr val="224981"/>
                </a:solidFill>
                <a:latin typeface="Arial"/>
                <a:cs typeface="Arial"/>
              </a:rPr>
              <a:t>Plus de 50 ans de savoir faire dans le domaine des argiles thérapeutiques</a:t>
            </a:r>
            <a:endParaRPr lang="fr-FR" sz="1100">
              <a:solidFill>
                <a:srgbClr val="224981"/>
              </a:solidFill>
              <a:latin typeface="Arial"/>
              <a:cs typeface="Arial"/>
            </a:endParaRPr>
          </a:p>
          <a:p>
            <a:pPr marL="128270" indent="-128270" defTabSz="685800">
              <a:lnSpc>
                <a:spcPct val="100000"/>
              </a:lnSpc>
              <a:spcBef>
                <a:spcPts val="750"/>
              </a:spcBef>
              <a:buClr>
                <a:srgbClr val="2898D4"/>
              </a:buClr>
              <a:defRPr/>
            </a:pPr>
            <a:r>
              <a:rPr lang="fr-FR" sz="900">
                <a:solidFill>
                  <a:srgbClr val="224981"/>
                </a:solidFill>
                <a:latin typeface="Arial"/>
                <a:cs typeface="Arial"/>
              </a:rPr>
              <a:t>A</a:t>
            </a:r>
            <a:r>
              <a:rPr lang="fr-FR" sz="900">
                <a:solidFill>
                  <a:srgbClr val="0A4055"/>
                </a:solidFill>
                <a:latin typeface="Arial"/>
                <a:cs typeface="Arial"/>
              </a:rPr>
              <a:t>rgile avec un </a:t>
            </a:r>
            <a:r>
              <a:rPr lang="fr-FR" sz="900" b="1">
                <a:solidFill>
                  <a:srgbClr val="0A4055"/>
                </a:solidFill>
                <a:latin typeface="Arial"/>
                <a:cs typeface="Arial"/>
              </a:rPr>
              <a:t>taux de pureté élevé </a:t>
            </a:r>
            <a:r>
              <a:rPr lang="fr-FR" sz="900">
                <a:solidFill>
                  <a:srgbClr val="0A4055"/>
                </a:solidFill>
                <a:latin typeface="Arial"/>
                <a:cs typeface="Arial"/>
              </a:rPr>
              <a:t>pour répondre aux exigences réglementaires</a:t>
            </a:r>
            <a:endParaRPr lang="fr-FR" sz="900" b="1" i="1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31ED1C26-CE33-4371-A583-44649FACADFC}"/>
              </a:ext>
            </a:extLst>
          </p:cNvPr>
          <p:cNvSpPr txBox="1">
            <a:spLocks/>
          </p:cNvSpPr>
          <p:nvPr/>
        </p:nvSpPr>
        <p:spPr>
          <a:xfrm>
            <a:off x="3213742" y="1023072"/>
            <a:ext cx="2819941" cy="593555"/>
          </a:xfr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 defTabSz="685800">
              <a:spcBef>
                <a:spcPct val="20000"/>
              </a:spcBef>
              <a:buClr>
                <a:srgbClr val="2898D4"/>
              </a:buClr>
              <a:buFont typeface="Wingdings" panose="05000000000000000000" pitchFamily="2" charset="2"/>
              <a:buChar char="§"/>
              <a:defRPr/>
            </a:pPr>
            <a:endParaRPr lang="fr-FR" sz="900" b="1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  <a:p>
            <a:pPr marL="0" indent="0" defTabSz="685800">
              <a:spcBef>
                <a:spcPct val="20000"/>
              </a:spcBef>
              <a:buClr>
                <a:srgbClr val="2898D4"/>
              </a:buClr>
              <a:buNone/>
              <a:defRPr/>
            </a:pPr>
            <a:r>
              <a:rPr lang="fr-FR" sz="1100" b="1" dirty="0">
                <a:solidFill>
                  <a:srgbClr val="224981"/>
                </a:solidFill>
                <a:latin typeface="Arial"/>
                <a:cs typeface="Arial"/>
              </a:rPr>
              <a:t>Un site reconnu pour ses </a:t>
            </a:r>
          </a:p>
          <a:p>
            <a:pPr marL="0" indent="0" defTabSz="685800">
              <a:spcBef>
                <a:spcPct val="20000"/>
              </a:spcBef>
              <a:buNone/>
              <a:defRPr/>
            </a:pPr>
            <a:r>
              <a:rPr lang="fr-FR" sz="1100" b="1" dirty="0">
                <a:solidFill>
                  <a:srgbClr val="224981"/>
                </a:solidFill>
                <a:latin typeface="Arial"/>
                <a:cs typeface="Arial"/>
              </a:rPr>
              <a:t>performances client, qualité et sécurité</a:t>
            </a:r>
            <a:endParaRPr lang="fr-FR" dirty="0"/>
          </a:p>
          <a:p>
            <a:pPr marL="171450" indent="-171450" defTabSz="685800">
              <a:spcBef>
                <a:spcPct val="20000"/>
              </a:spcBef>
              <a:buClr>
                <a:srgbClr val="2898D4"/>
              </a:buClr>
              <a:defRPr/>
            </a:pPr>
            <a:endParaRPr lang="fr-FR" sz="900" b="1" dirty="0">
              <a:solidFill>
                <a:srgbClr val="224981"/>
              </a:solidFill>
              <a:latin typeface="Arial"/>
              <a:cs typeface="Arial" panose="020B0604020202020204" pitchFamily="34" charset="0"/>
            </a:endParaRPr>
          </a:p>
          <a:p>
            <a:pPr marL="128270" indent="-128270" defTabSz="685800">
              <a:spcBef>
                <a:spcPct val="20000"/>
              </a:spcBef>
              <a:buClr>
                <a:srgbClr val="2898D4"/>
              </a:buClr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Certifié </a:t>
            </a:r>
            <a:r>
              <a:rPr lang="fr-FR" sz="900" b="1">
                <a:solidFill>
                  <a:srgbClr val="0A4055"/>
                </a:solidFill>
                <a:latin typeface="Arial"/>
                <a:cs typeface="Arial"/>
              </a:rPr>
              <a:t>GMP</a:t>
            </a: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 (</a:t>
            </a:r>
            <a:r>
              <a:rPr lang="en-US" sz="900" i="1" dirty="0">
                <a:solidFill>
                  <a:srgbClr val="0A4055"/>
                </a:solidFill>
                <a:latin typeface="Arial"/>
                <a:cs typeface="Arial"/>
              </a:rPr>
              <a:t>ANSM </a:t>
            </a:r>
            <a:r>
              <a:rPr lang="en-US" sz="900" i="1">
                <a:solidFill>
                  <a:srgbClr val="0A4055"/>
                </a:solidFill>
                <a:latin typeface="Arial"/>
                <a:cs typeface="Arial"/>
              </a:rPr>
              <a:t>2004 - API)</a:t>
            </a:r>
            <a:endParaRPr lang="fr-FR" sz="900" i="1">
              <a:solidFill>
                <a:srgbClr val="0A4055"/>
              </a:solidFill>
              <a:latin typeface="Arial"/>
              <a:cs typeface="Arial"/>
            </a:endParaRPr>
          </a:p>
          <a:p>
            <a:pPr marL="128270" indent="-128270" defTabSz="685800">
              <a:spcBef>
                <a:spcPct val="20000"/>
              </a:spcBef>
              <a:buClr>
                <a:srgbClr val="2898D4"/>
              </a:buClr>
              <a:buFont typeface="Arial" panose="05000000000000000000" pitchFamily="2" charset="2"/>
              <a:buChar char="•"/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Taux de service client de </a:t>
            </a:r>
            <a:r>
              <a:rPr lang="fr-FR" sz="900" b="1">
                <a:solidFill>
                  <a:srgbClr val="0A4055"/>
                </a:solidFill>
                <a:latin typeface="Arial"/>
                <a:cs typeface="Arial"/>
              </a:rPr>
              <a:t>100%</a:t>
            </a:r>
          </a:p>
          <a:p>
            <a:pPr marL="128270" indent="-128270" defTabSz="685800">
              <a:spcBef>
                <a:spcPct val="20000"/>
              </a:spcBef>
              <a:buClr>
                <a:srgbClr val="2898D4"/>
              </a:buClr>
              <a:buFont typeface="Arial" panose="05000000000000000000" pitchFamily="2" charset="2"/>
              <a:buChar char="•"/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0 accident de travail depuis </a:t>
            </a:r>
            <a:r>
              <a:rPr lang="fr-FR" sz="900" b="1">
                <a:solidFill>
                  <a:srgbClr val="0A4055"/>
                </a:solidFill>
                <a:latin typeface="Arial"/>
                <a:cs typeface="Arial"/>
              </a:rPr>
              <a:t>2491 </a:t>
            </a:r>
            <a:r>
              <a:rPr lang="fr-FR" sz="900">
                <a:solidFill>
                  <a:srgbClr val="0A4055"/>
                </a:solidFill>
                <a:latin typeface="Arial"/>
                <a:cs typeface="Arial"/>
              </a:rPr>
              <a:t>j</a:t>
            </a: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ours </a:t>
            </a:r>
            <a:endParaRPr lang="fr-FR" sz="900">
              <a:solidFill>
                <a:srgbClr val="0A4055"/>
              </a:solidFill>
              <a:latin typeface="Arial"/>
              <a:cs typeface="Arial"/>
            </a:endParaRPr>
          </a:p>
          <a:p>
            <a:pPr marL="128270" indent="-128270" defTabSz="336947">
              <a:spcBef>
                <a:spcPct val="20000"/>
              </a:spcBef>
              <a:buClr>
                <a:srgbClr val="2898D4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endParaRPr lang="en-US" sz="900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D4F2938-B610-4E36-B59E-70F636076876}"/>
              </a:ext>
            </a:extLst>
          </p:cNvPr>
          <p:cNvSpPr txBox="1">
            <a:spLocks/>
          </p:cNvSpPr>
          <p:nvPr/>
        </p:nvSpPr>
        <p:spPr>
          <a:xfrm>
            <a:off x="3179426" y="2875588"/>
            <a:ext cx="2945745" cy="980800"/>
          </a:xfr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36947">
              <a:spcBef>
                <a:spcPct val="20000"/>
              </a:spcBef>
              <a:buClr>
                <a:srgbClr val="2898D4"/>
              </a:buClr>
              <a:buNone/>
              <a:tabLst>
                <a:tab pos="0" algn="l"/>
              </a:tabLst>
              <a:defRPr/>
            </a:pPr>
            <a:r>
              <a:rPr lang="en-US" sz="1100" b="1" dirty="0">
                <a:solidFill>
                  <a:srgbClr val="224981"/>
                </a:solidFill>
                <a:latin typeface="Arial"/>
                <a:cs typeface="Arial"/>
              </a:rPr>
              <a:t>Un </a:t>
            </a:r>
            <a:r>
              <a:rPr lang="fr-FR" sz="1100" b="1" dirty="0">
                <a:solidFill>
                  <a:srgbClr val="224981"/>
                </a:solidFill>
                <a:latin typeface="Arial"/>
                <a:cs typeface="Arial"/>
              </a:rPr>
              <a:t>centre d’expertise analytique </a:t>
            </a:r>
          </a:p>
          <a:p>
            <a:pPr marL="0" indent="0" defTabSz="336947">
              <a:spcBef>
                <a:spcPct val="20000"/>
              </a:spcBef>
              <a:buNone/>
              <a:tabLst>
                <a:tab pos="0" algn="l"/>
              </a:tabLst>
              <a:defRPr/>
            </a:pPr>
            <a:endParaRPr lang="fr-FR" sz="800" b="1" dirty="0">
              <a:solidFill>
                <a:srgbClr val="224981"/>
              </a:solidFill>
              <a:latin typeface="Arial"/>
              <a:cs typeface="Arial"/>
            </a:endParaRPr>
          </a:p>
          <a:p>
            <a:pPr marL="128270" indent="-128270" defTabSz="336947">
              <a:spcBef>
                <a:spcPct val="20000"/>
              </a:spcBef>
              <a:buClr>
                <a:srgbClr val="2898D4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Méthodes d’analyses spécifiques répondant aux pharmacopées les plus exigeantes.</a:t>
            </a:r>
          </a:p>
          <a:p>
            <a:pPr marL="128270" indent="-128270" defTabSz="336947">
              <a:spcBef>
                <a:spcPct val="20000"/>
              </a:spcBef>
              <a:buClr>
                <a:srgbClr val="2898D4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Développement analytique performant </a:t>
            </a:r>
            <a:endParaRPr lang="fr-FR" sz="900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42" name="8CB7ADD1-8780-46A4-844B-E2C5A8B8A349" descr="8CB7ADD1-8780-46A4-844B-E2C5A8B8A349">
            <a:extLst>
              <a:ext uri="{FF2B5EF4-FFF2-40B4-BE49-F238E27FC236}">
                <a16:creationId xmlns:a16="http://schemas.microsoft.com/office/drawing/2014/main" id="{D2B58765-CE07-4435-8A48-35E3A6E6E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006" y="3820694"/>
            <a:ext cx="1425143" cy="8038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FAC7184A-0F56-4319-84BF-B5DC8346B4F1}"/>
              </a:ext>
            </a:extLst>
          </p:cNvPr>
          <p:cNvSpPr txBox="1">
            <a:spLocks/>
          </p:cNvSpPr>
          <p:nvPr/>
        </p:nvSpPr>
        <p:spPr>
          <a:xfrm>
            <a:off x="251521" y="2718862"/>
            <a:ext cx="2551322" cy="1013166"/>
          </a:xfr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 defTabSz="685800">
              <a:spcBef>
                <a:spcPct val="20000"/>
              </a:spcBef>
              <a:buClr>
                <a:srgbClr val="2898D4"/>
              </a:buClr>
              <a:buFont typeface="Wingdings" panose="05000000000000000000" pitchFamily="2" charset="2"/>
              <a:buChar char="§"/>
              <a:defRPr/>
            </a:pPr>
            <a:endParaRPr lang="en-US" sz="900" dirty="0">
              <a:solidFill>
                <a:srgbClr val="224981"/>
              </a:solidFill>
              <a:latin typeface="Arial"/>
              <a:cs typeface="Arial" panose="020B0604020202020204" pitchFamily="34" charset="0"/>
            </a:endParaRPr>
          </a:p>
          <a:p>
            <a:pPr marL="0" indent="0" defTabSz="336947">
              <a:spcBef>
                <a:spcPct val="20000"/>
              </a:spcBef>
              <a:buClr>
                <a:srgbClr val="2898D4"/>
              </a:buClr>
              <a:buNone/>
              <a:tabLst>
                <a:tab pos="0" algn="l"/>
              </a:tabLst>
              <a:defRPr/>
            </a:pPr>
            <a:r>
              <a:rPr lang="en-US" sz="1200" b="1" dirty="0">
                <a:solidFill>
                  <a:srgbClr val="224981"/>
                </a:solidFill>
                <a:latin typeface="Arial"/>
                <a:cs typeface="Arial"/>
              </a:rPr>
              <a:t>Un site de production unique</a:t>
            </a:r>
          </a:p>
          <a:p>
            <a:pPr marL="171450" indent="-171450" defTabSz="336947">
              <a:spcBef>
                <a:spcPct val="20000"/>
              </a:spcBef>
              <a:buClr>
                <a:srgbClr val="2898D4"/>
              </a:buClr>
              <a:tabLst>
                <a:tab pos="0" algn="l"/>
              </a:tabLst>
              <a:defRPr/>
            </a:pPr>
            <a:endParaRPr lang="en-US" sz="800" b="1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  <a:p>
            <a:pPr marL="128270" indent="-128270" defTabSz="336947">
              <a:spcBef>
                <a:spcPct val="20000"/>
              </a:spcBef>
              <a:buClr>
                <a:srgbClr val="2898D4"/>
              </a:buClr>
              <a:buFont typeface="Arial" panose="05000000000000000000" pitchFamily="2" charset="2"/>
              <a:buChar char="•"/>
              <a:tabLst>
                <a:tab pos="0" algn="l"/>
              </a:tabLst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Procédé de purification spécifique</a:t>
            </a:r>
          </a:p>
          <a:p>
            <a:pPr marL="128270" indent="-128270" defTabSz="336947">
              <a:spcBef>
                <a:spcPct val="20000"/>
              </a:spcBef>
              <a:buClr>
                <a:srgbClr val="2898D4"/>
              </a:buClr>
              <a:buFont typeface="Arial" panose="05000000000000000000" pitchFamily="2" charset="2"/>
              <a:buChar char="•"/>
              <a:tabLst>
                <a:tab pos="0" algn="l"/>
              </a:tabLst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Capacité entre 2000 et 4000 tonnes par an</a:t>
            </a:r>
          </a:p>
          <a:p>
            <a:pPr marL="0" indent="0" defTabSz="336947">
              <a:spcBef>
                <a:spcPct val="20000"/>
              </a:spcBef>
              <a:buClr>
                <a:srgbClr val="2898D4"/>
              </a:buClr>
              <a:buNone/>
              <a:tabLst>
                <a:tab pos="0" algn="l"/>
              </a:tabLst>
              <a:defRPr/>
            </a:pPr>
            <a:endParaRPr lang="fr-FR" sz="900" b="1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  <a:p>
            <a:pPr marL="128270" indent="-128270" defTabSz="336947">
              <a:spcBef>
                <a:spcPct val="20000"/>
              </a:spcBef>
              <a:buClr>
                <a:srgbClr val="2898D4"/>
              </a:buClr>
              <a:buFont typeface="Wingdings" panose="05000000000000000000" pitchFamily="2" charset="2"/>
              <a:buChar char="§"/>
              <a:tabLst>
                <a:tab pos="0" algn="l"/>
              </a:tabLst>
              <a:defRPr/>
            </a:pPr>
            <a:endParaRPr lang="en-US" sz="900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F24197D1-05AB-4852-ABBA-C15BD9AC82F5}"/>
              </a:ext>
            </a:extLst>
          </p:cNvPr>
          <p:cNvSpPr txBox="1">
            <a:spLocks/>
          </p:cNvSpPr>
          <p:nvPr/>
        </p:nvSpPr>
        <p:spPr>
          <a:xfrm>
            <a:off x="6077182" y="2685854"/>
            <a:ext cx="2942702" cy="1097974"/>
          </a:xfr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defTabSz="336947">
              <a:spcBef>
                <a:spcPct val="20000"/>
              </a:spcBef>
              <a:buClr>
                <a:srgbClr val="2898D4"/>
              </a:buClr>
              <a:tabLst>
                <a:tab pos="0" algn="l"/>
              </a:tabLst>
              <a:defRPr/>
            </a:pPr>
            <a:endParaRPr lang="en-US" sz="900" b="1" dirty="0">
              <a:solidFill>
                <a:srgbClr val="0A4055"/>
              </a:solidFill>
              <a:latin typeface="PF Highway Sans Pro" panose="02000500000000020004"/>
              <a:cs typeface="Arial" panose="020B0604020202020204" pitchFamily="34" charset="0"/>
            </a:endParaRPr>
          </a:p>
          <a:p>
            <a:pPr marL="0" indent="0" defTabSz="336947">
              <a:spcBef>
                <a:spcPct val="20000"/>
              </a:spcBef>
              <a:buClr>
                <a:srgbClr val="2898D4"/>
              </a:buClr>
              <a:buNone/>
              <a:tabLst>
                <a:tab pos="0" algn="l"/>
              </a:tabLst>
              <a:defRPr/>
            </a:pPr>
            <a:r>
              <a:rPr lang="fr-FR" sz="1100" b="1" dirty="0">
                <a:solidFill>
                  <a:srgbClr val="224981"/>
                </a:solidFill>
                <a:latin typeface="Arial"/>
                <a:cs typeface="Arial"/>
              </a:rPr>
              <a:t>Un pôle R&amp;D support du développement du portefeuille MAYOLY</a:t>
            </a:r>
          </a:p>
          <a:p>
            <a:pPr marL="171450" indent="-171450" defTabSz="336947">
              <a:spcBef>
                <a:spcPct val="20000"/>
              </a:spcBef>
              <a:buClr>
                <a:srgbClr val="2898D4"/>
              </a:buClr>
              <a:tabLst>
                <a:tab pos="0" algn="l"/>
              </a:tabLst>
              <a:defRPr/>
            </a:pPr>
            <a:endParaRPr lang="fr-FR" sz="600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  <a:p>
            <a:pPr marL="171450" indent="-171450" defTabSz="336947">
              <a:spcBef>
                <a:spcPct val="20000"/>
              </a:spcBef>
              <a:buClr>
                <a:srgbClr val="2898D4"/>
              </a:buClr>
              <a:tabLst>
                <a:tab pos="0" algn="l"/>
              </a:tabLst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Investissement en 2017 d’un pilote industriel (4M€)</a:t>
            </a:r>
          </a:p>
          <a:p>
            <a:pPr marL="171450" indent="-171450" defTabSz="336947">
              <a:spcBef>
                <a:spcPct val="20000"/>
              </a:spcBef>
              <a:buClr>
                <a:srgbClr val="2898D4"/>
              </a:buClr>
              <a:tabLst>
                <a:tab pos="0" algn="l"/>
              </a:tabLst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Amélioration de nos procédés</a:t>
            </a:r>
          </a:p>
          <a:p>
            <a:pPr marL="171450" indent="-171450" defTabSz="336947">
              <a:spcBef>
                <a:spcPct val="20000"/>
              </a:spcBef>
              <a:buClr>
                <a:srgbClr val="2898D4"/>
              </a:buClr>
              <a:tabLst>
                <a:tab pos="0" algn="l"/>
              </a:tabLst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Développement de nouvelles applications/produits</a:t>
            </a:r>
          </a:p>
        </p:txBody>
      </p:sp>
      <p:pic>
        <p:nvPicPr>
          <p:cNvPr id="45" name="Picture 6">
            <a:extLst>
              <a:ext uri="{FF2B5EF4-FFF2-40B4-BE49-F238E27FC236}">
                <a16:creationId xmlns:a16="http://schemas.microsoft.com/office/drawing/2014/main" id="{3EA84C8A-5B57-41F4-AF74-A6B1CED6FB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45" y="3793754"/>
            <a:ext cx="1370820" cy="8109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6" name="Espace réservé du texte 4">
            <a:extLst>
              <a:ext uri="{FF2B5EF4-FFF2-40B4-BE49-F238E27FC236}">
                <a16:creationId xmlns:a16="http://schemas.microsoft.com/office/drawing/2014/main" id="{7436D1DF-7558-4925-8AC1-0C53477CE1DF}"/>
              </a:ext>
            </a:extLst>
          </p:cNvPr>
          <p:cNvSpPr txBox="1">
            <a:spLocks/>
          </p:cNvSpPr>
          <p:nvPr/>
        </p:nvSpPr>
        <p:spPr>
          <a:xfrm>
            <a:off x="6119073" y="1165010"/>
            <a:ext cx="2915356" cy="483521"/>
          </a:xfr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20000"/>
              </a:spcBef>
              <a:buClr>
                <a:srgbClr val="2898D4"/>
              </a:buClr>
              <a:buNone/>
              <a:defRPr/>
            </a:pPr>
            <a:r>
              <a:rPr lang="fr-FR" sz="1100" b="1" dirty="0">
                <a:solidFill>
                  <a:srgbClr val="224981"/>
                </a:solidFill>
                <a:latin typeface="Arial"/>
                <a:cs typeface="Arial"/>
              </a:rPr>
              <a:t>Un site engagé dans une démarche environnementale et sociétale</a:t>
            </a:r>
          </a:p>
          <a:p>
            <a:pPr marL="0" indent="0" defTabSz="685800">
              <a:spcBef>
                <a:spcPct val="20000"/>
              </a:spcBef>
              <a:buNone/>
              <a:defRPr/>
            </a:pPr>
            <a:endParaRPr lang="fr-FR" sz="1100" b="1" dirty="0">
              <a:solidFill>
                <a:srgbClr val="224981"/>
              </a:solidFill>
              <a:latin typeface="Arial"/>
              <a:cs typeface="Arial"/>
            </a:endParaRPr>
          </a:p>
          <a:p>
            <a:pPr marL="128270" indent="-128270" defTabSz="685800">
              <a:spcBef>
                <a:spcPct val="20000"/>
              </a:spcBef>
              <a:buClr>
                <a:srgbClr val="2898D4"/>
              </a:buClr>
              <a:buFont typeface="Arial" panose="05000000000000000000" pitchFamily="2" charset="2"/>
              <a:buChar char="•"/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Obtention du trophée RSE PACA 2019.</a:t>
            </a:r>
          </a:p>
          <a:p>
            <a:pPr marL="128270" indent="-128270" defTabSz="685800">
              <a:spcBef>
                <a:spcPct val="20000"/>
              </a:spcBef>
              <a:buClr>
                <a:srgbClr val="2898D4"/>
              </a:buClr>
              <a:buFont typeface="Arial" panose="05000000000000000000" pitchFamily="2" charset="2"/>
              <a:buChar char="•"/>
              <a:defRPr/>
            </a:pPr>
            <a:r>
              <a:rPr lang="fr-FR" sz="900" dirty="0">
                <a:solidFill>
                  <a:srgbClr val="0A4055"/>
                </a:solidFill>
                <a:latin typeface="Arial"/>
                <a:cs typeface="Arial"/>
              </a:rPr>
              <a:t>Certification </a:t>
            </a:r>
            <a:r>
              <a:rPr lang="en-US" sz="900" dirty="0">
                <a:solidFill>
                  <a:srgbClr val="0A4055"/>
                </a:solidFill>
                <a:latin typeface="Arial"/>
                <a:cs typeface="Arial"/>
              </a:rPr>
              <a:t>ISO 14001 ( 2004), ISO 45001 (2018)</a:t>
            </a:r>
          </a:p>
          <a:p>
            <a:pPr marL="128270" indent="-128270" defTabSz="685800">
              <a:spcBef>
                <a:spcPct val="20000"/>
              </a:spcBef>
              <a:buClr>
                <a:srgbClr val="2898D4"/>
              </a:buClr>
              <a:buFont typeface="Arial" panose="05000000000000000000" pitchFamily="2" charset="2"/>
              <a:buChar char="•"/>
              <a:defRPr/>
            </a:pPr>
            <a:r>
              <a:rPr lang="en-US" sz="900" dirty="0">
                <a:solidFill>
                  <a:srgbClr val="0A4055"/>
                </a:solidFill>
                <a:latin typeface="Arial"/>
                <a:cs typeface="Arial"/>
              </a:rPr>
              <a:t>Refuge LPO : </a:t>
            </a:r>
            <a:r>
              <a:rPr lang="en-US" sz="900">
                <a:solidFill>
                  <a:srgbClr val="0A4055"/>
                </a:solidFill>
                <a:latin typeface="Arial"/>
                <a:cs typeface="Arial"/>
              </a:rPr>
              <a:t>Ligue</a:t>
            </a:r>
            <a:r>
              <a:rPr lang="en-US" sz="900" dirty="0">
                <a:solidFill>
                  <a:srgbClr val="0A4055"/>
                </a:solidFill>
                <a:latin typeface="Arial"/>
                <a:cs typeface="Arial"/>
              </a:rPr>
              <a:t> pour la protection des </a:t>
            </a:r>
            <a:r>
              <a:rPr lang="en-US" sz="900">
                <a:solidFill>
                  <a:srgbClr val="0A4055"/>
                </a:solidFill>
                <a:latin typeface="Arial"/>
                <a:cs typeface="Arial"/>
              </a:rPr>
              <a:t>oiseaux</a:t>
            </a:r>
            <a:endParaRPr lang="en-US" sz="900" dirty="0">
              <a:solidFill>
                <a:srgbClr val="0A4055"/>
              </a:solidFill>
              <a:latin typeface="Arial"/>
              <a:cs typeface="Arial"/>
            </a:endParaRPr>
          </a:p>
          <a:p>
            <a:pPr marL="0" indent="0" defTabSz="336947">
              <a:spcBef>
                <a:spcPct val="20000"/>
              </a:spcBef>
              <a:buClr>
                <a:srgbClr val="2898D4"/>
              </a:buClr>
              <a:buNone/>
              <a:tabLst>
                <a:tab pos="0" algn="l"/>
              </a:tabLst>
              <a:defRPr/>
            </a:pPr>
            <a:endParaRPr lang="en-US" sz="900" dirty="0">
              <a:solidFill>
                <a:srgbClr val="0A4055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F4A5FC2-D9AF-D3CC-A000-E6EEAD5072C0}"/>
              </a:ext>
            </a:extLst>
          </p:cNvPr>
          <p:cNvSpPr txBox="1"/>
          <p:nvPr/>
        </p:nvSpPr>
        <p:spPr>
          <a:xfrm>
            <a:off x="8207108" y="538140"/>
            <a:ext cx="636678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fr-FR" sz="1000">
                <a:solidFill>
                  <a:schemeClr val="bg1"/>
                </a:solidFill>
                <a:cs typeface="Arial"/>
              </a:rPr>
              <a:t>LDS</a:t>
            </a:r>
          </a:p>
        </p:txBody>
      </p:sp>
    </p:spTree>
    <p:extLst>
      <p:ext uri="{BB962C8B-B14F-4D97-AF65-F5344CB8AC3E}">
        <p14:creationId xmlns:p14="http://schemas.microsoft.com/office/powerpoint/2010/main" val="2700795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Bleu chaud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88">
      <a:dk1>
        <a:sysClr val="windowText" lastClr="000000"/>
      </a:dk1>
      <a:lt1>
        <a:sysClr val="window" lastClr="FFFFFF"/>
      </a:lt1>
      <a:dk2>
        <a:srgbClr val="005CA8"/>
      </a:dk2>
      <a:lt2>
        <a:srgbClr val="003C70"/>
      </a:lt2>
      <a:accent1>
        <a:srgbClr val="00B3D4"/>
      </a:accent1>
      <a:accent2>
        <a:srgbClr val="F9D21C"/>
      </a:accent2>
      <a:accent3>
        <a:srgbClr val="E2458E"/>
      </a:accent3>
      <a:accent4>
        <a:srgbClr val="0C6D66"/>
      </a:accent4>
      <a:accent5>
        <a:srgbClr val="2A4055"/>
      </a:accent5>
      <a:accent6>
        <a:srgbClr val="D9AB34"/>
      </a:accent6>
      <a:hlink>
        <a:srgbClr val="6BBFD4"/>
      </a:hlink>
      <a:folHlink>
        <a:srgbClr val="44A087"/>
      </a:folHlink>
    </a:clrScheme>
    <a:fontScheme name="Custom 41">
      <a:majorFont>
        <a:latin typeface="Raleway ExtraBold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lean Template.pptx" id="{0611A813-55BB-49F6-BD7B-96428D452493}" vid="{225EDBC1-0415-44ED-872A-3148CDB72EDC}"/>
    </a:ext>
  </a:extLst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2776AA46F7AE4CAD93C8F1AF4C5D75" ma:contentTypeVersion="12" ma:contentTypeDescription="Crée un document." ma:contentTypeScope="" ma:versionID="2b29905a6b07855c4b3b7c5739ca73c4">
  <xsd:schema xmlns:xsd="http://www.w3.org/2001/XMLSchema" xmlns:xs="http://www.w3.org/2001/XMLSchema" xmlns:p="http://schemas.microsoft.com/office/2006/metadata/properties" xmlns:ns2="b1b8c2d3-6d31-441a-a0d7-b857d1546ca5" xmlns:ns3="810d1647-fcb0-439b-ade3-8f628f07c10b" targetNamespace="http://schemas.microsoft.com/office/2006/metadata/properties" ma:root="true" ma:fieldsID="8a1746f86f024576156663aab80a06d7" ns2:_="" ns3:_="">
    <xsd:import namespace="b1b8c2d3-6d31-441a-a0d7-b857d1546ca5"/>
    <xsd:import namespace="810d1647-fcb0-439b-ade3-8f628f07c1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b8c2d3-6d31-441a-a0d7-b857d1546c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0d1647-fcb0-439b-ade3-8f628f07c10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10d1647-fcb0-439b-ade3-8f628f07c10b">
      <UserInfo>
        <DisplayName>NICOLAS Sébastien</DisplayName>
        <AccountId>1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F185027-4C03-48EE-A507-B006EC303C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6B7C4AB-E735-4BE2-A871-598A61F138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b8c2d3-6d31-441a-a0d7-b857d1546ca5"/>
    <ds:schemaRef ds:uri="810d1647-fcb0-439b-ade3-8f628f07c1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7AE6161-83A0-4158-97CD-4DCD783F3451}">
  <ds:schemaRefs>
    <ds:schemaRef ds:uri="b1b8c2d3-6d31-441a-a0d7-b857d1546ca5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810d1647-fcb0-439b-ade3-8f628f07c10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52</TotalTime>
  <Words>619</Words>
  <Application>Microsoft Office PowerPoint</Application>
  <PresentationFormat>Affichage à l'écran (16:9)</PresentationFormat>
  <Paragraphs>115</Paragraphs>
  <Slides>11</Slides>
  <Notes>2</Notes>
  <HiddenSlides>1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22" baseType="lpstr">
      <vt:lpstr>Arial</vt:lpstr>
      <vt:lpstr>Calibri</vt:lpstr>
      <vt:lpstr>PF Highway Sans Pro</vt:lpstr>
      <vt:lpstr>Raleway ExtraBold</vt:lpstr>
      <vt:lpstr>Raleway SemiBold</vt:lpstr>
      <vt:lpstr>Raleway-Light</vt:lpstr>
      <vt:lpstr>Times New Roman</vt:lpstr>
      <vt:lpstr>Wingdings</vt:lpstr>
      <vt:lpstr>Thème Office</vt:lpstr>
      <vt:lpstr>Office Theme</vt:lpstr>
      <vt:lpstr>Diapositive think-cell</vt:lpstr>
      <vt:lpstr>Présentation PowerPoint</vt:lpstr>
      <vt:lpstr>Présentation PowerPoint</vt:lpstr>
      <vt:lpstr>PRéSENTATION générale</vt:lpstr>
      <vt:lpstr>Une argile c’est quoi ?</vt:lpstr>
      <vt:lpstr>Des carrières uniques et des critères très sélectifs </vt:lpstr>
      <vt:lpstr>ISS le site référent dans le domaine des argiles</vt:lpstr>
      <vt:lpstr>Présentation PowerPoint</vt:lpstr>
      <vt:lpstr>Une équipe engagée pour atteindre les objectifs du groupe</vt:lpstr>
      <vt:lpstr>Un site unique et performant</vt:lpstr>
      <vt:lpstr>Un environnement de travail sûr et respectueux de chacun</vt:lpstr>
      <vt:lpstr>Présentation PowerPoint</vt:lpstr>
    </vt:vector>
  </TitlesOfParts>
  <Company>OB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ommunication@mayoly.com</dc:creator>
  <cp:lastModifiedBy>JOUBERT Nadia</cp:lastModifiedBy>
  <cp:revision>11</cp:revision>
  <cp:lastPrinted>2022-09-23T13:58:45Z</cp:lastPrinted>
  <dcterms:created xsi:type="dcterms:W3CDTF">2016-11-04T09:23:02Z</dcterms:created>
  <dcterms:modified xsi:type="dcterms:W3CDTF">2025-04-11T12:5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DB2776AA46F7AE4CAD93C8F1AF4C5D75</vt:lpwstr>
  </property>
  <property fmtid="{D5CDD505-2E9C-101B-9397-08002B2CF9AE}" pid="4" name="_ExtendedDescription">
    <vt:lpwstr/>
  </property>
</Properties>
</file>